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heme/theme4.xml" ContentType="application/vnd.openxmlformats-officedocument.theme+xml"/>
  <Override PartName="/ppt/tags/tag39.xml" ContentType="application/vnd.openxmlformats-officedocument.presentationml.tags+xml"/>
  <Override PartName="/ppt/notesSlides/notesSlide1.xml" ContentType="application/vnd.openxmlformats-officedocument.presentationml.notesSlide+xml"/>
  <Override PartName="/ppt/tags/tag40.xml" ContentType="application/vnd.openxmlformats-officedocument.presentationml.tags+xml"/>
  <Override PartName="/ppt/notesSlides/notesSlide2.xml" ContentType="application/vnd.openxmlformats-officedocument.presentationml.notesSlide+xml"/>
  <Override PartName="/ppt/tags/tag4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4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43.xml" ContentType="application/vnd.openxmlformats-officedocument.presentationml.tags+xml"/>
  <Override PartName="/ppt/notesSlides/notesSlide8.xml" ContentType="application/vnd.openxmlformats-officedocument.presentationml.notesSlide+xml"/>
  <Override PartName="/ppt/tags/tag44.xml" ContentType="application/vnd.openxmlformats-officedocument.presentationml.tags+xml"/>
  <Override PartName="/ppt/notesSlides/notesSlide9.xml" ContentType="application/vnd.openxmlformats-officedocument.presentationml.notesSlide+xml"/>
  <Override PartName="/ppt/tags/tag45.xml" ContentType="application/vnd.openxmlformats-officedocument.presentationml.tags+xml"/>
  <Override PartName="/ppt/notesSlides/notesSlide10.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6" r:id="rId3"/>
  </p:sldMasterIdLst>
  <p:notesMasterIdLst>
    <p:notesMasterId r:id="rId20"/>
  </p:notesMasterIdLst>
  <p:sldIdLst>
    <p:sldId id="474" r:id="rId4"/>
    <p:sldId id="841" r:id="rId5"/>
    <p:sldId id="860" r:id="rId6"/>
    <p:sldId id="483" r:id="rId7"/>
    <p:sldId id="485" r:id="rId8"/>
    <p:sldId id="478" r:id="rId9"/>
    <p:sldId id="872" r:id="rId10"/>
    <p:sldId id="484" r:id="rId11"/>
    <p:sldId id="913" r:id="rId12"/>
    <p:sldId id="914" r:id="rId13"/>
    <p:sldId id="915" r:id="rId14"/>
    <p:sldId id="1859" r:id="rId15"/>
    <p:sldId id="486" r:id="rId16"/>
    <p:sldId id="479" r:id="rId17"/>
    <p:sldId id="261" r:id="rId18"/>
    <p:sldId id="887"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1131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82" d="100"/>
          <a:sy n="82" d="100"/>
        </p:scale>
        <p:origin x="720" y="6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Sheet1!$B$1</c:f>
              <c:strCache>
                <c:ptCount val="1"/>
                <c:pt idx="0">
                  <c:v>Technical Cost</c:v>
                </c:pt>
              </c:strCache>
            </c:strRef>
          </c:tx>
          <c:spPr>
            <a:solidFill>
              <a:srgbClr val="7030A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Sheet1!$A$2:$A$6</c:f>
              <c:strCache>
                <c:ptCount val="5"/>
                <c:pt idx="0">
                  <c:v>HW</c:v>
                </c:pt>
                <c:pt idx="1">
                  <c:v>SW</c:v>
                </c:pt>
                <c:pt idx="2">
                  <c:v>Operational Cost</c:v>
                </c:pt>
                <c:pt idx="3">
                  <c:v>Management</c:v>
                </c:pt>
                <c:pt idx="4">
                  <c:v>Training</c:v>
                </c:pt>
              </c:strCache>
            </c:strRef>
          </c:cat>
          <c:val>
            <c:numRef>
              <c:f>Sheet1!$B$2:$B$6</c:f>
              <c:numCache>
                <c:formatCode>General</c:formatCode>
                <c:ptCount val="5"/>
                <c:pt idx="0">
                  <c:v>2</c:v>
                </c:pt>
                <c:pt idx="1">
                  <c:v>3</c:v>
                </c:pt>
                <c:pt idx="2">
                  <c:v>1</c:v>
                </c:pt>
              </c:numCache>
            </c:numRef>
          </c:val>
          <c:extLst>
            <c:ext xmlns:c16="http://schemas.microsoft.com/office/drawing/2014/chart" uri="{C3380CC4-5D6E-409C-BE32-E72D297353CC}">
              <c16:uniqueId val="{00000000-3BE0-4CDC-BE08-A882D061125C}"/>
            </c:ext>
          </c:extLst>
        </c:ser>
        <c:ser>
          <c:idx val="1"/>
          <c:order val="1"/>
          <c:tx>
            <c:strRef>
              <c:f>Sheet1!$C$1</c:f>
              <c:strCache>
                <c:ptCount val="1"/>
                <c:pt idx="0">
                  <c:v>Non-technical Cost</c:v>
                </c:pt>
              </c:strCache>
            </c:strRef>
          </c:tx>
          <c:spPr>
            <a:solidFill>
              <a:srgbClr val="00B05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Sheet1!$A$2:$A$6</c:f>
              <c:strCache>
                <c:ptCount val="5"/>
                <c:pt idx="0">
                  <c:v>HW</c:v>
                </c:pt>
                <c:pt idx="1">
                  <c:v>SW</c:v>
                </c:pt>
                <c:pt idx="2">
                  <c:v>Operational Cost</c:v>
                </c:pt>
                <c:pt idx="3">
                  <c:v>Management</c:v>
                </c:pt>
                <c:pt idx="4">
                  <c:v>Training</c:v>
                </c:pt>
              </c:strCache>
            </c:strRef>
          </c:cat>
          <c:val>
            <c:numRef>
              <c:f>Sheet1!$C$2:$C$6</c:f>
              <c:numCache>
                <c:formatCode>General</c:formatCode>
                <c:ptCount val="5"/>
                <c:pt idx="3">
                  <c:v>1</c:v>
                </c:pt>
                <c:pt idx="4">
                  <c:v>3</c:v>
                </c:pt>
              </c:numCache>
            </c:numRef>
          </c:val>
          <c:extLst>
            <c:ext xmlns:c16="http://schemas.microsoft.com/office/drawing/2014/chart" uri="{C3380CC4-5D6E-409C-BE32-E72D297353CC}">
              <c16:uniqueId val="{00000003-3BE0-4CDC-BE08-A882D061125C}"/>
            </c:ext>
          </c:extLst>
        </c:ser>
        <c:dLbls>
          <c:showLegendKey val="0"/>
          <c:showVal val="0"/>
          <c:showCatName val="0"/>
          <c:showSerName val="0"/>
          <c:showPercent val="0"/>
          <c:showBubbleSize val="0"/>
        </c:dLbls>
        <c:gapWidth val="100"/>
        <c:overlap val="-24"/>
        <c:axId val="1135778480"/>
        <c:axId val="1135778808"/>
      </c:barChart>
      <c:catAx>
        <c:axId val="1135778480"/>
        <c:scaling>
          <c:orientation val="minMax"/>
        </c:scaling>
        <c:delete val="0"/>
        <c:axPos val="b"/>
        <c:numFmt formatCode="General" sourceLinked="1"/>
        <c:majorTickMark val="out"/>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135778808"/>
        <c:crosses val="autoZero"/>
        <c:auto val="1"/>
        <c:lblAlgn val="ctr"/>
        <c:lblOffset val="100"/>
        <c:noMultiLvlLbl val="0"/>
      </c:catAx>
      <c:valAx>
        <c:axId val="113577880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r>
                  <a:rPr lang="en-US" dirty="0"/>
                  <a:t>Percentages of</a:t>
                </a:r>
                <a:r>
                  <a:rPr lang="en-US" baseline="0" dirty="0"/>
                  <a:t> total cost</a:t>
                </a:r>
                <a:endParaRPr lang="en-US" dirty="0"/>
              </a:p>
            </c:rich>
          </c:tx>
          <c:overlay val="0"/>
          <c:spPr>
            <a:noFill/>
            <a:ln>
              <a:noFill/>
            </a:ln>
            <a:effectLst/>
          </c:spPr>
          <c:txPr>
            <a:bodyPr rot="-54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13577848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40">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3BB4F19-3B60-478F-BBB8-E485100C8A24}" type="datetimeFigureOut">
              <a:rPr lang="en-US" smtClean="0"/>
              <a:t>9/25/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7DF3F8-B92A-480F-B86A-4C3877FECB27}" type="slidenum">
              <a:rPr lang="en-US" smtClean="0"/>
              <a:t>‹#›</a:t>
            </a:fld>
            <a:endParaRPr lang="en-US"/>
          </a:p>
        </p:txBody>
      </p:sp>
    </p:spTree>
    <p:extLst>
      <p:ext uri="{BB962C8B-B14F-4D97-AF65-F5344CB8AC3E}">
        <p14:creationId xmlns:p14="http://schemas.microsoft.com/office/powerpoint/2010/main" val="12606548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7DD0-38E7-46ED-A2FE-994A5C24976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727317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DD817DD0-38E7-46ED-A2FE-994A5C249761}" type="slidenum">
              <a:rPr lang="en-US" smtClean="0"/>
              <a:pPr/>
              <a:t>11</a:t>
            </a:fld>
            <a:endParaRPr lang="en-US" dirty="0"/>
          </a:p>
        </p:txBody>
      </p:sp>
    </p:spTree>
    <p:extLst>
      <p:ext uri="{BB962C8B-B14F-4D97-AF65-F5344CB8AC3E}">
        <p14:creationId xmlns:p14="http://schemas.microsoft.com/office/powerpoint/2010/main" val="108590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DD817DD0-38E7-46ED-A2FE-994A5C249761}" type="slidenum">
              <a:rPr lang="en-US" smtClean="0"/>
              <a:pPr/>
              <a:t>16</a:t>
            </a:fld>
            <a:endParaRPr lang="en-US" dirty="0"/>
          </a:p>
        </p:txBody>
      </p:sp>
    </p:spTree>
    <p:extLst>
      <p:ext uri="{BB962C8B-B14F-4D97-AF65-F5344CB8AC3E}">
        <p14:creationId xmlns:p14="http://schemas.microsoft.com/office/powerpoint/2010/main" val="20562970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550" y="742950"/>
            <a:ext cx="6604000" cy="3714750"/>
          </a:xfrm>
        </p:spPr>
      </p:sp>
      <p:sp>
        <p:nvSpPr>
          <p:cNvPr id="3" name="Notes Placeholder 2"/>
          <p:cNvSpPr>
            <a:spLocks noGrp="1"/>
          </p:cNvSpPr>
          <p:nvPr>
            <p:ph type="body" idx="1"/>
          </p:nvPr>
        </p:nvSpPr>
        <p:spPr/>
        <p:txBody>
          <a:bodyPr/>
          <a:lstStyle/>
          <a:p>
            <a:endParaRPr lang="en-US" sz="12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DD817DD0-38E7-46ED-A2FE-994A5C249761}" type="slidenum">
              <a:rPr lang="en-US" smtClean="0"/>
              <a:pPr/>
              <a:t>2</a:t>
            </a:fld>
            <a:endParaRPr lang="en-US" dirty="0"/>
          </a:p>
        </p:txBody>
      </p:sp>
    </p:spTree>
    <p:extLst>
      <p:ext uri="{BB962C8B-B14F-4D97-AF65-F5344CB8AC3E}">
        <p14:creationId xmlns:p14="http://schemas.microsoft.com/office/powerpoint/2010/main" val="31138361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550" y="742950"/>
            <a:ext cx="6604000" cy="3714750"/>
          </a:xfrm>
        </p:spPr>
      </p:sp>
      <p:sp>
        <p:nvSpPr>
          <p:cNvPr id="3" name="Notes Placeholder 2"/>
          <p:cNvSpPr>
            <a:spLocks noGrp="1"/>
          </p:cNvSpPr>
          <p:nvPr>
            <p:ph type="body" idx="1"/>
          </p:nvPr>
        </p:nvSpPr>
        <p:spPr/>
        <p:txBody>
          <a:bodyPr/>
          <a:lstStyle/>
          <a:p>
            <a:endParaRPr lang="en-US" sz="12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marL="0" marR="0" lvl="0" indent="0" algn="r" defTabSz="967274" rtl="0" eaLnBrk="1" fontAlgn="auto" latinLnBrk="0" hangingPunct="1">
              <a:lnSpc>
                <a:spcPct val="100000"/>
              </a:lnSpc>
              <a:spcBef>
                <a:spcPts val="0"/>
              </a:spcBef>
              <a:spcAft>
                <a:spcPts val="0"/>
              </a:spcAft>
              <a:buClrTx/>
              <a:buSzTx/>
              <a:buFontTx/>
              <a:buNone/>
              <a:tabLst/>
              <a:defRPr/>
            </a:pPr>
            <a:fld id="{DD817DD0-38E7-46ED-A2FE-994A5C249761}"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67274"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0236261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7DF3F8-B92A-480F-B86A-4C3877FECB27}" type="slidenum">
              <a:rPr lang="en-US" smtClean="0"/>
              <a:t>5</a:t>
            </a:fld>
            <a:endParaRPr lang="en-US"/>
          </a:p>
        </p:txBody>
      </p:sp>
    </p:spTree>
    <p:extLst>
      <p:ext uri="{BB962C8B-B14F-4D97-AF65-F5344CB8AC3E}">
        <p14:creationId xmlns:p14="http://schemas.microsoft.com/office/powerpoint/2010/main" val="29101092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lobal mobile operators are pushing for open, intelligent, virtualized, and fully interoperable RAN solutions.</a:t>
            </a:r>
          </a:p>
          <a:p>
            <a:r>
              <a:rPr lang="en-US" b="0" i="0" dirty="0">
                <a:solidFill>
                  <a:srgbClr val="1D1E20"/>
                </a:solidFill>
                <a:effectLst/>
                <a:latin typeface="NokiaPureHeadline"/>
              </a:rPr>
              <a:t>RAN Intelligent Controller (RIC) is a new optional virtualized 5G optimization technology that adds programmability to an existing or new RAN.</a:t>
            </a:r>
          </a:p>
          <a:p>
            <a:r>
              <a:rPr lang="en-US" b="0" i="0" dirty="0">
                <a:solidFill>
                  <a:srgbClr val="1D1E20"/>
                </a:solidFill>
                <a:effectLst/>
                <a:latin typeface="NokiaPureHeadline"/>
              </a:rPr>
              <a:t>The RIC platform provides functions and interfaces that boost optimization through policy-driven closed loop automation and faster, more flexible service deployments, as well as programmability with AI/ML technologies within the RAN.</a:t>
            </a:r>
          </a:p>
          <a:p>
            <a:r>
              <a:rPr lang="en-US" b="0" i="0" dirty="0">
                <a:solidFill>
                  <a:srgbClr val="333333"/>
                </a:solidFill>
                <a:effectLst/>
                <a:latin typeface="AvenirLTStd-Light"/>
              </a:rPr>
              <a:t>It may take three to five years for open RAN technology to fully mature, but adoption should accelerate rapidly, due to the open design and to the economic and competitive forces driving 5G market growth. The open RAN market has the potential to grow substantially, from 1% of the total RAN market today to 10% by 2025</a:t>
            </a:r>
            <a:endParaRPr lang="en-US" dirty="0"/>
          </a:p>
        </p:txBody>
      </p:sp>
      <p:sp>
        <p:nvSpPr>
          <p:cNvPr id="4" name="Slide Number Placeholder 3"/>
          <p:cNvSpPr>
            <a:spLocks noGrp="1"/>
          </p:cNvSpPr>
          <p:nvPr>
            <p:ph type="sldNum" sz="quarter" idx="5"/>
          </p:nvPr>
        </p:nvSpPr>
        <p:spPr/>
        <p:txBody>
          <a:bodyPr/>
          <a:lstStyle/>
          <a:p>
            <a:fld id="{387DF3F8-B92A-480F-B86A-4C3877FECB27}" type="slidenum">
              <a:rPr lang="en-US" smtClean="0"/>
              <a:t>6</a:t>
            </a:fld>
            <a:endParaRPr lang="en-US"/>
          </a:p>
        </p:txBody>
      </p:sp>
    </p:spTree>
    <p:extLst>
      <p:ext uri="{BB962C8B-B14F-4D97-AF65-F5344CB8AC3E}">
        <p14:creationId xmlns:p14="http://schemas.microsoft.com/office/powerpoint/2010/main" val="31812974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550" y="742950"/>
            <a:ext cx="6604000" cy="3714750"/>
          </a:xfrm>
        </p:spPr>
      </p:sp>
      <p:sp>
        <p:nvSpPr>
          <p:cNvPr id="3" name="Notes Placeholder 2"/>
          <p:cNvSpPr>
            <a:spLocks noGrp="1"/>
          </p:cNvSpPr>
          <p:nvPr>
            <p:ph type="body" idx="1"/>
          </p:nvPr>
        </p:nvSpPr>
        <p:spPr/>
        <p:txBody>
          <a:bodyPr/>
          <a:lstStyle/>
          <a:p>
            <a:r>
              <a:rPr lang="en-US" sz="1200" dirty="0">
                <a:latin typeface="Arial" panose="020B0604020202020204" pitchFamily="34" charset="0"/>
                <a:cs typeface="Arial" panose="020B0604020202020204" pitchFamily="34" charset="0"/>
              </a:rPr>
              <a:t>communication service providers (CSPs)</a:t>
            </a:r>
          </a:p>
          <a:p>
            <a:endParaRPr lang="en-US" sz="12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marL="0" marR="0" lvl="0" indent="0" algn="r" defTabSz="967274" rtl="0" eaLnBrk="1" fontAlgn="auto" latinLnBrk="0" hangingPunct="1">
              <a:lnSpc>
                <a:spcPct val="100000"/>
              </a:lnSpc>
              <a:spcBef>
                <a:spcPts val="0"/>
              </a:spcBef>
              <a:spcAft>
                <a:spcPts val="0"/>
              </a:spcAft>
              <a:buClrTx/>
              <a:buSzTx/>
              <a:buFontTx/>
              <a:buNone/>
              <a:tabLst/>
              <a:defRPr/>
            </a:pPr>
            <a:fld id="{DD817DD0-38E7-46ED-A2FE-994A5C249761}"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67274"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7536631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7DF3F8-B92A-480F-B86A-4C3877FECB27}" type="slidenum">
              <a:rPr lang="en-US" smtClean="0"/>
              <a:t>8</a:t>
            </a:fld>
            <a:endParaRPr lang="en-US"/>
          </a:p>
        </p:txBody>
      </p:sp>
    </p:spTree>
    <p:extLst>
      <p:ext uri="{BB962C8B-B14F-4D97-AF65-F5344CB8AC3E}">
        <p14:creationId xmlns:p14="http://schemas.microsoft.com/office/powerpoint/2010/main" val="30444533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550" y="742950"/>
            <a:ext cx="6604000" cy="3714750"/>
          </a:xfrm>
        </p:spPr>
      </p:sp>
      <p:sp>
        <p:nvSpPr>
          <p:cNvPr id="3" name="Notes Placeholder 2"/>
          <p:cNvSpPr>
            <a:spLocks noGrp="1"/>
          </p:cNvSpPr>
          <p:nvPr>
            <p:ph type="body" idx="1"/>
          </p:nvPr>
        </p:nvSpPr>
        <p:spPr/>
        <p:txBody>
          <a:bodyPr/>
          <a:lstStyle/>
          <a:p>
            <a:endParaRPr lang="en-US" sz="12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DD817DD0-38E7-46ED-A2FE-994A5C249761}" type="slidenum">
              <a:rPr lang="en-US" smtClean="0"/>
              <a:pPr/>
              <a:t>9</a:t>
            </a:fld>
            <a:endParaRPr lang="en-US" dirty="0"/>
          </a:p>
        </p:txBody>
      </p:sp>
    </p:spTree>
    <p:extLst>
      <p:ext uri="{BB962C8B-B14F-4D97-AF65-F5344CB8AC3E}">
        <p14:creationId xmlns:p14="http://schemas.microsoft.com/office/powerpoint/2010/main" val="4687129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DD817DD0-38E7-46ED-A2FE-994A5C249761}" type="slidenum">
              <a:rPr lang="en-US" smtClean="0"/>
              <a:pPr/>
              <a:t>10</a:t>
            </a:fld>
            <a:endParaRPr lang="en-US" dirty="0"/>
          </a:p>
        </p:txBody>
      </p:sp>
    </p:spTree>
    <p:extLst>
      <p:ext uri="{BB962C8B-B14F-4D97-AF65-F5344CB8AC3E}">
        <p14:creationId xmlns:p14="http://schemas.microsoft.com/office/powerpoint/2010/main" val="289360754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3.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4.xml"/><Relationship Id="rId6" Type="http://schemas.openxmlformats.org/officeDocument/2006/relationships/image" Target="../media/image4.png"/><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6.emf"/></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6.xml"/><Relationship Id="rId5" Type="http://schemas.openxmlformats.org/officeDocument/2006/relationships/image" Target="../media/image6.emf"/><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9.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0.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1.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2.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3.xml"/><Relationship Id="rId5" Type="http://schemas.openxmlformats.org/officeDocument/2006/relationships/image" Target="../media/image7.png"/><Relationship Id="rId4" Type="http://schemas.openxmlformats.org/officeDocument/2006/relationships/image" Target="../media/image8.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4.xml"/><Relationship Id="rId5" Type="http://schemas.openxmlformats.org/officeDocument/2006/relationships/image" Target="../media/image7.png"/><Relationship Id="rId4" Type="http://schemas.openxmlformats.org/officeDocument/2006/relationships/image" Target="../media/image8.emf"/></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7.png"/><Relationship Id="rId5" Type="http://schemas.openxmlformats.org/officeDocument/2006/relationships/image" Target="../media/image8.emf"/><Relationship Id="rId4" Type="http://schemas.openxmlformats.org/officeDocument/2006/relationships/oleObject" Target="../embeddings/oleObject14.bin"/></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tags" Target="../tags/tag19.xml"/><Relationship Id="rId6" Type="http://schemas.microsoft.com/office/2007/relationships/hdphoto" Target="../media/hdphoto1.wdp"/><Relationship Id="rId5" Type="http://schemas.openxmlformats.org/officeDocument/2006/relationships/image" Target="../media/image9.png"/><Relationship Id="rId4" Type="http://schemas.openxmlformats.org/officeDocument/2006/relationships/image" Target="../media/image3.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20.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21.xml"/><Relationship Id="rId4" Type="http://schemas.openxmlformats.org/officeDocument/2006/relationships/image" Target="../media/image8.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3.xml"/><Relationship Id="rId1" Type="http://schemas.openxmlformats.org/officeDocument/2006/relationships/tags" Target="../tags/tag22.xml"/><Relationship Id="rId4" Type="http://schemas.openxmlformats.org/officeDocument/2006/relationships/image" Target="../media/image8.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tags" Target="../tags/tag23.xml"/><Relationship Id="rId4" Type="http://schemas.openxmlformats.org/officeDocument/2006/relationships/image" Target="../media/image8.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3.xml"/><Relationship Id="rId1" Type="http://schemas.openxmlformats.org/officeDocument/2006/relationships/tags" Target="../tags/tag24.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3.xml"/><Relationship Id="rId1" Type="http://schemas.openxmlformats.org/officeDocument/2006/relationships/tags" Target="../tags/tag25.xml"/><Relationship Id="rId5" Type="http://schemas.openxmlformats.org/officeDocument/2006/relationships/image" Target="../media/image7.png"/><Relationship Id="rId4" Type="http://schemas.openxmlformats.org/officeDocument/2006/relationships/image" Target="../media/image8.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3.xml"/><Relationship Id="rId1" Type="http://schemas.openxmlformats.org/officeDocument/2006/relationships/tags" Target="../tags/tag26.xml"/><Relationship Id="rId5" Type="http://schemas.openxmlformats.org/officeDocument/2006/relationships/image" Target="../media/image7.png"/><Relationship Id="rId4" Type="http://schemas.openxmlformats.org/officeDocument/2006/relationships/image" Target="../media/image8.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27.xml"/><Relationship Id="rId5" Type="http://schemas.openxmlformats.org/officeDocument/2006/relationships/image" Target="../media/image7.png"/><Relationship Id="rId4" Type="http://schemas.openxmlformats.org/officeDocument/2006/relationships/image" Target="../media/image8.emf"/></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7.png"/><Relationship Id="rId5" Type="http://schemas.openxmlformats.org/officeDocument/2006/relationships/image" Target="../media/image8.emf"/><Relationship Id="rId4" Type="http://schemas.openxmlformats.org/officeDocument/2006/relationships/oleObject" Target="../embeddings/oleObject14.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8.emf"/><Relationship Id="rId4" Type="http://schemas.openxmlformats.org/officeDocument/2006/relationships/oleObject" Target="../embeddings/oleObject25.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8.emf"/><Relationship Id="rId4" Type="http://schemas.openxmlformats.org/officeDocument/2006/relationships/oleObject" Target="../embeddings/oleObject26.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7.png"/><Relationship Id="rId5" Type="http://schemas.openxmlformats.org/officeDocument/2006/relationships/image" Target="../media/image8.emf"/><Relationship Id="rId4" Type="http://schemas.openxmlformats.org/officeDocument/2006/relationships/oleObject" Target="../embeddings/oleObject27.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36.xml"/><Relationship Id="rId5" Type="http://schemas.openxmlformats.org/officeDocument/2006/relationships/image" Target="../media/image7.png"/><Relationship Id="rId4" Type="http://schemas.openxmlformats.org/officeDocument/2006/relationships/image" Target="../media/image8.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3.xml"/><Relationship Id="rId1" Type="http://schemas.openxmlformats.org/officeDocument/2006/relationships/tags" Target="../tags/tag37.xml"/><Relationship Id="rId4" Type="http://schemas.openxmlformats.org/officeDocument/2006/relationships/image" Target="../media/image8.emf"/></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38.xml"/><Relationship Id="rId5" Type="http://schemas.openxmlformats.org/officeDocument/2006/relationships/image" Target="../media/image7.png"/><Relationship Id="rId4" Type="http://schemas.openxmlformats.org/officeDocument/2006/relationships/image" Target="../media/image8.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B0B3F6-966C-53E4-6DC3-2E8CB274C5F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9C68CA7-A238-D2FC-0D30-1763885B6E8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CB80001-1B2E-9F95-A381-09CC855AC07D}"/>
              </a:ext>
            </a:extLst>
          </p:cNvPr>
          <p:cNvSpPr>
            <a:spLocks noGrp="1"/>
          </p:cNvSpPr>
          <p:nvPr>
            <p:ph type="dt" sz="half" idx="10"/>
          </p:nvPr>
        </p:nvSpPr>
        <p:spPr/>
        <p:txBody>
          <a:bodyPr/>
          <a:lstStyle/>
          <a:p>
            <a:fld id="{ADA12347-DBE3-418F-8BB6-59B648B1AE1D}" type="datetimeFigureOut">
              <a:rPr lang="en-US" smtClean="0"/>
              <a:t>9/25/2022</a:t>
            </a:fld>
            <a:endParaRPr lang="en-US"/>
          </a:p>
        </p:txBody>
      </p:sp>
      <p:sp>
        <p:nvSpPr>
          <p:cNvPr id="5" name="Footer Placeholder 4">
            <a:extLst>
              <a:ext uri="{FF2B5EF4-FFF2-40B4-BE49-F238E27FC236}">
                <a16:creationId xmlns:a16="http://schemas.microsoft.com/office/drawing/2014/main" id="{532E391D-15D6-1FB5-BAB4-266120BA2B6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11EF541-E6AC-63CD-5305-DBE7BB41B6E5}"/>
              </a:ext>
            </a:extLst>
          </p:cNvPr>
          <p:cNvSpPr>
            <a:spLocks noGrp="1"/>
          </p:cNvSpPr>
          <p:nvPr>
            <p:ph type="sldNum" sz="quarter" idx="12"/>
          </p:nvPr>
        </p:nvSpPr>
        <p:spPr/>
        <p:txBody>
          <a:bodyPr/>
          <a:lstStyle/>
          <a:p>
            <a:fld id="{2B0AE37F-1DB0-47DB-8054-4F7D5FFC6962}" type="slidenum">
              <a:rPr lang="en-US" smtClean="0"/>
              <a:t>‹#›</a:t>
            </a:fld>
            <a:endParaRPr lang="en-US"/>
          </a:p>
        </p:txBody>
      </p:sp>
    </p:spTree>
    <p:extLst>
      <p:ext uri="{BB962C8B-B14F-4D97-AF65-F5344CB8AC3E}">
        <p14:creationId xmlns:p14="http://schemas.microsoft.com/office/powerpoint/2010/main" val="23242481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F962BC-BC21-504C-6539-05DF1212E6B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6919F3C-E7FA-D84B-9520-811BC1B913F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AA8F139-7AE0-7CEA-D80B-14C69513FAEA}"/>
              </a:ext>
            </a:extLst>
          </p:cNvPr>
          <p:cNvSpPr>
            <a:spLocks noGrp="1"/>
          </p:cNvSpPr>
          <p:nvPr>
            <p:ph type="dt" sz="half" idx="10"/>
          </p:nvPr>
        </p:nvSpPr>
        <p:spPr/>
        <p:txBody>
          <a:bodyPr/>
          <a:lstStyle/>
          <a:p>
            <a:fld id="{ADA12347-DBE3-418F-8BB6-59B648B1AE1D}" type="datetimeFigureOut">
              <a:rPr lang="en-US" smtClean="0"/>
              <a:t>9/25/2022</a:t>
            </a:fld>
            <a:endParaRPr lang="en-US"/>
          </a:p>
        </p:txBody>
      </p:sp>
      <p:sp>
        <p:nvSpPr>
          <p:cNvPr id="5" name="Footer Placeholder 4">
            <a:extLst>
              <a:ext uri="{FF2B5EF4-FFF2-40B4-BE49-F238E27FC236}">
                <a16:creationId xmlns:a16="http://schemas.microsoft.com/office/drawing/2014/main" id="{4621D98F-FC30-8593-C47E-60573D66FD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40437C1-5E3E-C9C1-92CD-8546613E1107}"/>
              </a:ext>
            </a:extLst>
          </p:cNvPr>
          <p:cNvSpPr>
            <a:spLocks noGrp="1"/>
          </p:cNvSpPr>
          <p:nvPr>
            <p:ph type="sldNum" sz="quarter" idx="12"/>
          </p:nvPr>
        </p:nvSpPr>
        <p:spPr/>
        <p:txBody>
          <a:bodyPr/>
          <a:lstStyle/>
          <a:p>
            <a:fld id="{2B0AE37F-1DB0-47DB-8054-4F7D5FFC6962}" type="slidenum">
              <a:rPr lang="en-US" smtClean="0"/>
              <a:t>‹#›</a:t>
            </a:fld>
            <a:endParaRPr lang="en-US"/>
          </a:p>
        </p:txBody>
      </p:sp>
    </p:spTree>
    <p:extLst>
      <p:ext uri="{BB962C8B-B14F-4D97-AF65-F5344CB8AC3E}">
        <p14:creationId xmlns:p14="http://schemas.microsoft.com/office/powerpoint/2010/main" val="15967565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AB0AAE7-B4F0-CF66-C23E-9068ED427BB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C4D7EBB-EF0F-BB30-12EE-21F9F6DAAC9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AAF88F-3658-9F34-0FB1-9D17D382EFD2}"/>
              </a:ext>
            </a:extLst>
          </p:cNvPr>
          <p:cNvSpPr>
            <a:spLocks noGrp="1"/>
          </p:cNvSpPr>
          <p:nvPr>
            <p:ph type="dt" sz="half" idx="10"/>
          </p:nvPr>
        </p:nvSpPr>
        <p:spPr/>
        <p:txBody>
          <a:bodyPr/>
          <a:lstStyle/>
          <a:p>
            <a:fld id="{ADA12347-DBE3-418F-8BB6-59B648B1AE1D}" type="datetimeFigureOut">
              <a:rPr lang="en-US" smtClean="0"/>
              <a:t>9/25/2022</a:t>
            </a:fld>
            <a:endParaRPr lang="en-US"/>
          </a:p>
        </p:txBody>
      </p:sp>
      <p:sp>
        <p:nvSpPr>
          <p:cNvPr id="5" name="Footer Placeholder 4">
            <a:extLst>
              <a:ext uri="{FF2B5EF4-FFF2-40B4-BE49-F238E27FC236}">
                <a16:creationId xmlns:a16="http://schemas.microsoft.com/office/drawing/2014/main" id="{2C71C9CE-6943-FA24-767E-C06392C29CE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5C91197-7B33-D39A-4A14-57CA8DA52661}"/>
              </a:ext>
            </a:extLst>
          </p:cNvPr>
          <p:cNvSpPr>
            <a:spLocks noGrp="1"/>
          </p:cNvSpPr>
          <p:nvPr>
            <p:ph type="sldNum" sz="quarter" idx="12"/>
          </p:nvPr>
        </p:nvSpPr>
        <p:spPr/>
        <p:txBody>
          <a:bodyPr/>
          <a:lstStyle/>
          <a:p>
            <a:fld id="{2B0AE37F-1DB0-47DB-8054-4F7D5FFC6962}" type="slidenum">
              <a:rPr lang="en-US" smtClean="0"/>
              <a:t>‹#›</a:t>
            </a:fld>
            <a:endParaRPr lang="en-US"/>
          </a:p>
        </p:txBody>
      </p:sp>
    </p:spTree>
    <p:extLst>
      <p:ext uri="{BB962C8B-B14F-4D97-AF65-F5344CB8AC3E}">
        <p14:creationId xmlns:p14="http://schemas.microsoft.com/office/powerpoint/2010/main" val="12685738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rgbClr val="12276E"/>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1073539496"/>
              </p:ext>
            </p:extLst>
          </p:nvPr>
        </p:nvGraphicFramePr>
        <p:xfrm>
          <a:off x="1681" y="1680"/>
          <a:ext cx="1679" cy="1678"/>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1681" y="1680"/>
                        <a:ext cx="1679" cy="1678"/>
                      </a:xfrm>
                      <a:prstGeom prst="rect">
                        <a:avLst/>
                      </a:prstGeom>
                    </p:spPr>
                  </p:pic>
                </p:oleObj>
              </mc:Fallback>
            </mc:AlternateContent>
          </a:graphicData>
        </a:graphic>
      </p:graphicFrame>
      <p:pic>
        <p:nvPicPr>
          <p:cNvPr id="7" name="Grafik 6"/>
          <p:cNvPicPr>
            <a:picLocks noChangeAspect="1"/>
          </p:cNvPicPr>
          <p:nvPr userDrawn="1"/>
        </p:nvPicPr>
        <p:blipFill rotWithShape="1">
          <a:blip r:embed="rId5">
            <a:extLst>
              <a:ext uri="{28A0092B-C50C-407E-A947-70E740481C1C}">
                <a14:useLocalDpi xmlns:a14="http://schemas.microsoft.com/office/drawing/2010/main" val="0"/>
              </a:ext>
            </a:extLst>
          </a:blip>
          <a:srcRect l="1509" t="28994" r="2252" b="29081"/>
          <a:stretch/>
        </p:blipFill>
        <p:spPr>
          <a:xfrm>
            <a:off x="305724" y="6392521"/>
            <a:ext cx="877899" cy="270091"/>
          </a:xfrm>
          <a:prstGeom prst="rect">
            <a:avLst/>
          </a:prstGeom>
        </p:spPr>
      </p:pic>
      <p:sp>
        <p:nvSpPr>
          <p:cNvPr id="9" name="Textfeld 8"/>
          <p:cNvSpPr txBox="1"/>
          <p:nvPr userDrawn="1"/>
        </p:nvSpPr>
        <p:spPr>
          <a:xfrm>
            <a:off x="5290458" y="6423026"/>
            <a:ext cx="1709057" cy="276999"/>
          </a:xfrm>
          <a:prstGeom prst="rect">
            <a:avLst/>
          </a:prstGeom>
          <a:noFill/>
        </p:spPr>
        <p:txBody>
          <a:bodyPr wrap="square" lIns="0" tIns="0" rIns="0" bIns="0" rtlCol="0">
            <a:noAutofit/>
          </a:bodyPr>
          <a:lstStyle/>
          <a:p>
            <a:pPr rtl="0"/>
            <a:endParaRPr lang="en-US" sz="1904" dirty="0"/>
          </a:p>
        </p:txBody>
      </p:sp>
      <p:sp>
        <p:nvSpPr>
          <p:cNvPr id="4" name="Textplatzhalter 3"/>
          <p:cNvSpPr>
            <a:spLocks noGrp="1"/>
          </p:cNvSpPr>
          <p:nvPr>
            <p:ph type="body" sz="quarter" idx="12" hasCustomPrompt="1"/>
          </p:nvPr>
        </p:nvSpPr>
        <p:spPr>
          <a:xfrm>
            <a:off x="304745" y="1701773"/>
            <a:ext cx="11581531" cy="2345173"/>
          </a:xfrm>
        </p:spPr>
        <p:txBody>
          <a:bodyPr>
            <a:noAutofit/>
          </a:bodyPr>
          <a:lstStyle>
            <a:lvl1pPr rtl="0">
              <a:lnSpc>
                <a:spcPct val="104000"/>
              </a:lnSpc>
              <a:spcBef>
                <a:spcPts val="0"/>
              </a:spcBef>
              <a:defRPr sz="5076" b="1" baseline="0">
                <a:solidFill>
                  <a:schemeClr val="bg1"/>
                </a:solidFill>
              </a:defRPr>
            </a:lvl1pPr>
          </a:lstStyle>
          <a:p>
            <a:pPr lvl="0"/>
            <a:r>
              <a:rPr lang="en-US"/>
              <a:t>Heading Arial Bold</a:t>
            </a:r>
            <a:br>
              <a:rPr lang="en-US"/>
            </a:br>
            <a:r>
              <a:rPr lang="en-US"/>
              <a:t>Maximum 3 lines</a:t>
            </a:r>
            <a:br>
              <a:rPr lang="en-US"/>
            </a:br>
            <a:r>
              <a:rPr lang="en-US"/>
              <a:t>48 pt</a:t>
            </a:r>
            <a:endParaRPr lang="en-US" dirty="0"/>
          </a:p>
        </p:txBody>
      </p:sp>
      <p:sp>
        <p:nvSpPr>
          <p:cNvPr id="6" name="Textplatzhalter 5"/>
          <p:cNvSpPr>
            <a:spLocks noGrp="1"/>
          </p:cNvSpPr>
          <p:nvPr>
            <p:ph type="body" sz="quarter" idx="13" hasCustomPrompt="1"/>
          </p:nvPr>
        </p:nvSpPr>
        <p:spPr>
          <a:xfrm>
            <a:off x="304745" y="4503799"/>
            <a:ext cx="11581531" cy="378712"/>
          </a:xfrm>
        </p:spPr>
        <p:txBody>
          <a:bodyPr wrap="square">
            <a:spAutoFit/>
          </a:bodyPr>
          <a:lstStyle>
            <a:lvl1pPr rtl="0">
              <a:spcBef>
                <a:spcPts val="0"/>
              </a:spcBef>
              <a:defRPr sz="2538" baseline="0">
                <a:solidFill>
                  <a:schemeClr val="bg1"/>
                </a:solidFill>
              </a:defRPr>
            </a:lvl1pPr>
            <a:lvl5pPr>
              <a:defRPr/>
            </a:lvl5pPr>
          </a:lstStyle>
          <a:p>
            <a:pPr lvl="0"/>
            <a:r>
              <a:rPr lang="en-US"/>
              <a:t>Subheading Arial Regular, 24 pt</a:t>
            </a:r>
            <a:endParaRPr lang="en-US" dirty="0"/>
          </a:p>
        </p:txBody>
      </p:sp>
      <p:grpSp>
        <p:nvGrpSpPr>
          <p:cNvPr id="147" name="Gruppieren 146"/>
          <p:cNvGrpSpPr/>
          <p:nvPr userDrawn="1"/>
        </p:nvGrpSpPr>
        <p:grpSpPr>
          <a:xfrm>
            <a:off x="-368850" y="-326321"/>
            <a:ext cx="12916643" cy="7536892"/>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12006113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Full Size Image">
    <p:bg>
      <p:bgPr>
        <a:blipFill dpi="0" rotWithShape="1">
          <a:blip r:embed="rId3" cstate="print">
            <a:lum/>
          </a:blip>
          <a:srcRect/>
          <a:stretch>
            <a:fillRect/>
          </a:stretch>
        </a:blip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A757436F-4E7B-48D6-B6D9-72499CB165C8}"/>
              </a:ext>
            </a:extLst>
          </p:cNvPr>
          <p:cNvGraphicFramePr>
            <a:graphicFrameLocks noChangeAspect="1"/>
          </p:cNvGraphicFramePr>
          <p:nvPr userDrawn="1">
            <p:custDataLst>
              <p:tags r:id="rId1"/>
            </p:custDataLst>
            <p:extLst>
              <p:ext uri="{D42A27DB-BD31-4B8C-83A1-F6EECF244321}">
                <p14:modId xmlns:p14="http://schemas.microsoft.com/office/powerpoint/2010/main" val="4068795244"/>
              </p:ext>
            </p:extLst>
          </p:nvPr>
        </p:nvGraphicFramePr>
        <p:xfrm>
          <a:off x="1680" y="1680"/>
          <a:ext cx="1680" cy="1679"/>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A757436F-4E7B-48D6-B6D9-72499CB165C8}"/>
                          </a:ext>
                        </a:extLst>
                      </p:cNvPr>
                      <p:cNvPicPr/>
                      <p:nvPr/>
                    </p:nvPicPr>
                    <p:blipFill>
                      <a:blip r:embed="rId5"/>
                      <a:stretch>
                        <a:fillRect/>
                      </a:stretch>
                    </p:blipFill>
                    <p:spPr>
                      <a:xfrm>
                        <a:off x="1680" y="1680"/>
                        <a:ext cx="1680" cy="1679"/>
                      </a:xfrm>
                      <a:prstGeom prst="rect">
                        <a:avLst/>
                      </a:prstGeom>
                    </p:spPr>
                  </p:pic>
                </p:oleObj>
              </mc:Fallback>
            </mc:AlternateContent>
          </a:graphicData>
        </a:graphic>
      </p:graphicFrame>
      <p:sp>
        <p:nvSpPr>
          <p:cNvPr id="9" name="Textfeld 8"/>
          <p:cNvSpPr txBox="1"/>
          <p:nvPr userDrawn="1"/>
        </p:nvSpPr>
        <p:spPr>
          <a:xfrm>
            <a:off x="5290458" y="6423026"/>
            <a:ext cx="1709057" cy="276999"/>
          </a:xfrm>
          <a:prstGeom prst="rect">
            <a:avLst/>
          </a:prstGeom>
          <a:noFill/>
        </p:spPr>
        <p:txBody>
          <a:bodyPr wrap="square" lIns="0" tIns="0" rIns="0" bIns="0" rtlCol="0">
            <a:noAutofit/>
          </a:bodyPr>
          <a:lstStyle/>
          <a:p>
            <a:pPr rtl="0"/>
            <a:endParaRPr lang="en-US" sz="1904" dirty="0"/>
          </a:p>
        </p:txBody>
      </p:sp>
      <p:sp>
        <p:nvSpPr>
          <p:cNvPr id="6" name="Textplatzhalter 3"/>
          <p:cNvSpPr>
            <a:spLocks noGrp="1"/>
          </p:cNvSpPr>
          <p:nvPr>
            <p:ph type="body" sz="quarter" idx="12" hasCustomPrompt="1"/>
          </p:nvPr>
        </p:nvSpPr>
        <p:spPr>
          <a:xfrm>
            <a:off x="304745" y="1701773"/>
            <a:ext cx="11581531" cy="2345173"/>
          </a:xfrm>
        </p:spPr>
        <p:txBody>
          <a:bodyPr>
            <a:noAutofit/>
          </a:bodyPr>
          <a:lstStyle>
            <a:lvl1pPr rtl="0">
              <a:lnSpc>
                <a:spcPct val="104000"/>
              </a:lnSpc>
              <a:spcBef>
                <a:spcPts val="0"/>
              </a:spcBef>
              <a:defRPr sz="5076" b="1" baseline="0">
                <a:solidFill>
                  <a:schemeClr val="bg1"/>
                </a:solidFill>
              </a:defRPr>
            </a:lvl1pPr>
          </a:lstStyle>
          <a:p>
            <a:pPr lvl="0"/>
            <a:r>
              <a:rPr lang="en-US"/>
              <a:t>Heading Arial Bold</a:t>
            </a:r>
            <a:br>
              <a:rPr lang="en-US"/>
            </a:br>
            <a:r>
              <a:rPr lang="en-US"/>
              <a:t>Maximum 3 lines</a:t>
            </a:r>
            <a:br>
              <a:rPr lang="en-US"/>
            </a:br>
            <a:r>
              <a:rPr lang="en-US"/>
              <a:t>48 pt</a:t>
            </a:r>
            <a:endParaRPr lang="en-US" dirty="0"/>
          </a:p>
        </p:txBody>
      </p:sp>
      <p:sp>
        <p:nvSpPr>
          <p:cNvPr id="7" name="Textplatzhalter 5"/>
          <p:cNvSpPr>
            <a:spLocks noGrp="1"/>
          </p:cNvSpPr>
          <p:nvPr>
            <p:ph type="body" sz="quarter" idx="13" hasCustomPrompt="1"/>
          </p:nvPr>
        </p:nvSpPr>
        <p:spPr>
          <a:xfrm>
            <a:off x="304745" y="4503799"/>
            <a:ext cx="11581531" cy="378712"/>
          </a:xfrm>
        </p:spPr>
        <p:txBody>
          <a:bodyPr wrap="square">
            <a:spAutoFit/>
          </a:bodyPr>
          <a:lstStyle>
            <a:lvl1pPr rtl="0">
              <a:spcBef>
                <a:spcPts val="0"/>
              </a:spcBef>
              <a:defRPr sz="2538" baseline="0">
                <a:solidFill>
                  <a:schemeClr val="bg1"/>
                </a:solidFill>
              </a:defRPr>
            </a:lvl1pPr>
            <a:lvl5pPr>
              <a:defRPr/>
            </a:lvl5pPr>
          </a:lstStyle>
          <a:p>
            <a:pPr lvl="0"/>
            <a:r>
              <a:rPr lang="en-US"/>
              <a:t>Subheading Arial Regular, 24 pt</a:t>
            </a:r>
            <a:endParaRPr lang="en-US" dirty="0"/>
          </a:p>
        </p:txBody>
      </p:sp>
      <p:pic>
        <p:nvPicPr>
          <p:cNvPr id="10" name="Grafik 9"/>
          <p:cNvPicPr>
            <a:picLocks noChangeAspect="1"/>
          </p:cNvPicPr>
          <p:nvPr userDrawn="1"/>
        </p:nvPicPr>
        <p:blipFill rotWithShape="1">
          <a:blip r:embed="rId6">
            <a:extLst>
              <a:ext uri="{28A0092B-C50C-407E-A947-70E740481C1C}">
                <a14:useLocalDpi xmlns:a14="http://schemas.microsoft.com/office/drawing/2010/main" val="0"/>
              </a:ext>
            </a:extLst>
          </a:blip>
          <a:srcRect l="1509" t="28994" r="2252" b="29081"/>
          <a:stretch/>
        </p:blipFill>
        <p:spPr>
          <a:xfrm>
            <a:off x="305724" y="6392521"/>
            <a:ext cx="877899" cy="270091"/>
          </a:xfrm>
          <a:prstGeom prst="rect">
            <a:avLst/>
          </a:prstGeom>
        </p:spPr>
      </p:pic>
      <p:grpSp>
        <p:nvGrpSpPr>
          <p:cNvPr id="146" name="Gruppieren 145"/>
          <p:cNvGrpSpPr/>
          <p:nvPr userDrawn="1"/>
        </p:nvGrpSpPr>
        <p:grpSpPr>
          <a:xfrm>
            <a:off x="-368850" y="-326321"/>
            <a:ext cx="12916643" cy="7536892"/>
            <a:chOff x="-348582" y="-308570"/>
            <a:chExt cx="12206900" cy="7126900"/>
          </a:xfrm>
        </p:grpSpPr>
        <p:grpSp>
          <p:nvGrpSpPr>
            <p:cNvPr id="147" name="Gruppieren 146"/>
            <p:cNvGrpSpPr/>
            <p:nvPr userDrawn="1"/>
          </p:nvGrpSpPr>
          <p:grpSpPr>
            <a:xfrm>
              <a:off x="-348582" y="362069"/>
              <a:ext cx="180000" cy="5931473"/>
              <a:chOff x="-348582" y="362069"/>
              <a:chExt cx="180000" cy="5931473"/>
            </a:xfrm>
          </p:grpSpPr>
          <p:cxnSp>
            <p:nvCxnSpPr>
              <p:cNvPr id="174"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5"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8" name="Gruppieren 147"/>
            <p:cNvGrpSpPr/>
            <p:nvPr userDrawn="1"/>
          </p:nvGrpSpPr>
          <p:grpSpPr>
            <a:xfrm>
              <a:off x="11678318" y="362069"/>
              <a:ext cx="180000" cy="5931473"/>
              <a:chOff x="11678318" y="362069"/>
              <a:chExt cx="180000" cy="5931473"/>
            </a:xfrm>
          </p:grpSpPr>
          <p:cxnSp>
            <p:nvCxnSpPr>
              <p:cNvPr id="167"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288925" y="6638330"/>
              <a:ext cx="10944224" cy="180000"/>
              <a:chOff x="288925" y="6638330"/>
              <a:chExt cx="10944224" cy="180000"/>
            </a:xfrm>
          </p:grpSpPr>
          <p:cxnSp>
            <p:nvCxnSpPr>
              <p:cNvPr id="159"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308570"/>
              <a:ext cx="10944224" cy="180000"/>
              <a:chOff x="288925" y="-308570"/>
              <a:chExt cx="10944224" cy="180000"/>
            </a:xfrm>
          </p:grpSpPr>
          <p:cxnSp>
            <p:nvCxnSpPr>
              <p:cNvPr id="151"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68322105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lide Divider Blue">
    <p:bg>
      <p:bgPr>
        <a:solidFill>
          <a:srgbClr val="12276E"/>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F1BC1627-7F32-4F61-B7A3-19A9C9A9E731}"/>
              </a:ext>
            </a:extLst>
          </p:cNvPr>
          <p:cNvGraphicFramePr>
            <a:graphicFrameLocks noChangeAspect="1"/>
          </p:cNvGraphicFramePr>
          <p:nvPr userDrawn="1">
            <p:custDataLst>
              <p:tags r:id="rId1"/>
            </p:custDataLst>
            <p:extLst>
              <p:ext uri="{D42A27DB-BD31-4B8C-83A1-F6EECF244321}">
                <p14:modId xmlns:p14="http://schemas.microsoft.com/office/powerpoint/2010/main" val="3075744001"/>
              </p:ext>
            </p:extLst>
          </p:nvPr>
        </p:nvGraphicFramePr>
        <p:xfrm>
          <a:off x="1680" y="1680"/>
          <a:ext cx="1680" cy="1679"/>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2" name="Objekt 1" hidden="1">
                        <a:extLst>
                          <a:ext uri="{FF2B5EF4-FFF2-40B4-BE49-F238E27FC236}">
                            <a16:creationId xmlns:a16="http://schemas.microsoft.com/office/drawing/2014/main" id="{F1BC1627-7F32-4F61-B7A3-19A9C9A9E731}"/>
                          </a:ext>
                        </a:extLst>
                      </p:cNvPr>
                      <p:cNvPicPr/>
                      <p:nvPr/>
                    </p:nvPicPr>
                    <p:blipFill>
                      <a:blip r:embed="rId4"/>
                      <a:stretch>
                        <a:fillRect/>
                      </a:stretch>
                    </p:blipFill>
                    <p:spPr>
                      <a:xfrm>
                        <a:off x="1680" y="1680"/>
                        <a:ext cx="1680" cy="1679"/>
                      </a:xfrm>
                      <a:prstGeom prst="rect">
                        <a:avLst/>
                      </a:prstGeom>
                    </p:spPr>
                  </p:pic>
                </p:oleObj>
              </mc:Fallback>
            </mc:AlternateContent>
          </a:graphicData>
        </a:graphic>
      </p:graphicFrame>
      <p:sp>
        <p:nvSpPr>
          <p:cNvPr id="9" name="Textfeld 8"/>
          <p:cNvSpPr txBox="1"/>
          <p:nvPr userDrawn="1"/>
        </p:nvSpPr>
        <p:spPr>
          <a:xfrm>
            <a:off x="5290458" y="6423026"/>
            <a:ext cx="1709057" cy="276999"/>
          </a:xfrm>
          <a:prstGeom prst="rect">
            <a:avLst/>
          </a:prstGeom>
          <a:noFill/>
        </p:spPr>
        <p:txBody>
          <a:bodyPr wrap="square" lIns="0" tIns="0" rIns="0" bIns="0" rtlCol="0">
            <a:noAutofit/>
          </a:bodyPr>
          <a:lstStyle/>
          <a:p>
            <a:pPr rtl="0"/>
            <a:endParaRPr lang="en-US" sz="1904" dirty="0"/>
          </a:p>
        </p:txBody>
      </p:sp>
      <p:sp>
        <p:nvSpPr>
          <p:cNvPr id="4" name="Textplatzhalter 3"/>
          <p:cNvSpPr>
            <a:spLocks noGrp="1"/>
          </p:cNvSpPr>
          <p:nvPr>
            <p:ph type="body" sz="quarter" idx="12" hasCustomPrompt="1"/>
          </p:nvPr>
        </p:nvSpPr>
        <p:spPr>
          <a:xfrm>
            <a:off x="304745" y="1701773"/>
            <a:ext cx="11581531" cy="2345173"/>
          </a:xfrm>
        </p:spPr>
        <p:txBody>
          <a:bodyPr>
            <a:noAutofit/>
          </a:bodyPr>
          <a:lstStyle>
            <a:lvl1pPr rtl="0">
              <a:lnSpc>
                <a:spcPct val="104000"/>
              </a:lnSpc>
              <a:spcBef>
                <a:spcPts val="0"/>
              </a:spcBef>
              <a:defRPr sz="5076" b="1">
                <a:solidFill>
                  <a:schemeClr val="bg1"/>
                </a:solidFill>
              </a:defRPr>
            </a:lvl1pPr>
          </a:lstStyle>
          <a:p>
            <a:pPr lvl="0"/>
            <a:r>
              <a:rPr lang="en-US"/>
              <a:t>Slide Divider</a:t>
            </a:r>
            <a:br>
              <a:rPr lang="en-US"/>
            </a:br>
            <a:r>
              <a:rPr lang="en-US"/>
              <a:t>Arial Bold</a:t>
            </a:r>
            <a:br>
              <a:rPr lang="en-US"/>
            </a:br>
            <a:r>
              <a:rPr lang="en-US"/>
              <a:t>48/54/66 pt</a:t>
            </a:r>
            <a:endParaRPr lang="en-US" dirty="0"/>
          </a:p>
        </p:txBody>
      </p:sp>
      <p:grpSp>
        <p:nvGrpSpPr>
          <p:cNvPr id="144" name="Gruppieren 143"/>
          <p:cNvGrpSpPr/>
          <p:nvPr userDrawn="1"/>
        </p:nvGrpSpPr>
        <p:grpSpPr>
          <a:xfrm>
            <a:off x="-368850" y="-326321"/>
            <a:ext cx="12916643" cy="7536892"/>
            <a:chOff x="-348582" y="-308570"/>
            <a:chExt cx="12206900" cy="7126900"/>
          </a:xfrm>
        </p:grpSpPr>
        <p:grpSp>
          <p:nvGrpSpPr>
            <p:cNvPr id="145" name="Gruppieren 144"/>
            <p:cNvGrpSpPr/>
            <p:nvPr userDrawn="1"/>
          </p:nvGrpSpPr>
          <p:grpSpPr>
            <a:xfrm>
              <a:off x="-348582" y="362069"/>
              <a:ext cx="180000" cy="5931473"/>
              <a:chOff x="-348582" y="362069"/>
              <a:chExt cx="180000" cy="5931473"/>
            </a:xfrm>
          </p:grpSpPr>
          <p:cxnSp>
            <p:nvCxnSpPr>
              <p:cNvPr id="172"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5"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6" name="Gruppieren 145"/>
            <p:cNvGrpSpPr/>
            <p:nvPr userDrawn="1"/>
          </p:nvGrpSpPr>
          <p:grpSpPr>
            <a:xfrm>
              <a:off x="11678318" y="362069"/>
              <a:ext cx="180000" cy="5931473"/>
              <a:chOff x="11678318" y="362069"/>
              <a:chExt cx="180000" cy="5931473"/>
            </a:xfrm>
          </p:grpSpPr>
          <p:cxnSp>
            <p:nvCxnSpPr>
              <p:cNvPr id="165"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7" name="Gruppieren 146"/>
            <p:cNvGrpSpPr/>
            <p:nvPr userDrawn="1"/>
          </p:nvGrpSpPr>
          <p:grpSpPr>
            <a:xfrm>
              <a:off x="288925" y="6638330"/>
              <a:ext cx="10944224" cy="180000"/>
              <a:chOff x="288925" y="6638330"/>
              <a:chExt cx="10944224" cy="180000"/>
            </a:xfrm>
          </p:grpSpPr>
          <p:cxnSp>
            <p:nvCxnSpPr>
              <p:cNvPr id="157"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8" name="Gruppieren 147"/>
            <p:cNvGrpSpPr/>
            <p:nvPr userDrawn="1"/>
          </p:nvGrpSpPr>
          <p:grpSpPr>
            <a:xfrm>
              <a:off x="288925" y="-308570"/>
              <a:ext cx="10944224" cy="180000"/>
              <a:chOff x="288925" y="-308570"/>
              <a:chExt cx="10944224" cy="180000"/>
            </a:xfrm>
          </p:grpSpPr>
          <p:cxnSp>
            <p:nvCxnSpPr>
              <p:cNvPr id="149"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1"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4224807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lide Divider Full Size Image">
    <p:bg>
      <p:bgPr>
        <a:blipFill dpi="0" rotWithShape="1">
          <a:blip r:embed="rId3" cstate="print">
            <a:lum/>
          </a:blip>
          <a:srcRect/>
          <a:stretch>
            <a:fillRect/>
          </a:stretch>
        </a:blip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3DD925A-5CA2-42A1-B305-3F360A0C3D6C}"/>
              </a:ext>
            </a:extLst>
          </p:cNvPr>
          <p:cNvGraphicFramePr>
            <a:graphicFrameLocks noChangeAspect="1"/>
          </p:cNvGraphicFramePr>
          <p:nvPr userDrawn="1">
            <p:custDataLst>
              <p:tags r:id="rId1"/>
            </p:custDataLst>
            <p:extLst>
              <p:ext uri="{D42A27DB-BD31-4B8C-83A1-F6EECF244321}">
                <p14:modId xmlns:p14="http://schemas.microsoft.com/office/powerpoint/2010/main" val="536764847"/>
              </p:ext>
            </p:extLst>
          </p:nvPr>
        </p:nvGraphicFramePr>
        <p:xfrm>
          <a:off x="1680" y="1680"/>
          <a:ext cx="1680" cy="1679"/>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23DD925A-5CA2-42A1-B305-3F360A0C3D6C}"/>
                          </a:ext>
                        </a:extLst>
                      </p:cNvPr>
                      <p:cNvPicPr/>
                      <p:nvPr/>
                    </p:nvPicPr>
                    <p:blipFill>
                      <a:blip r:embed="rId5"/>
                      <a:stretch>
                        <a:fillRect/>
                      </a:stretch>
                    </p:blipFill>
                    <p:spPr>
                      <a:xfrm>
                        <a:off x="1680" y="1680"/>
                        <a:ext cx="1680" cy="1679"/>
                      </a:xfrm>
                      <a:prstGeom prst="rect">
                        <a:avLst/>
                      </a:prstGeom>
                    </p:spPr>
                  </p:pic>
                </p:oleObj>
              </mc:Fallback>
            </mc:AlternateContent>
          </a:graphicData>
        </a:graphic>
      </p:graphicFrame>
      <p:sp>
        <p:nvSpPr>
          <p:cNvPr id="9" name="Textfeld 8"/>
          <p:cNvSpPr txBox="1"/>
          <p:nvPr userDrawn="1"/>
        </p:nvSpPr>
        <p:spPr>
          <a:xfrm>
            <a:off x="5290458" y="6423026"/>
            <a:ext cx="1709057" cy="276999"/>
          </a:xfrm>
          <a:prstGeom prst="rect">
            <a:avLst/>
          </a:prstGeom>
          <a:noFill/>
        </p:spPr>
        <p:txBody>
          <a:bodyPr wrap="square" lIns="0" tIns="0" rIns="0" bIns="0" rtlCol="0">
            <a:noAutofit/>
          </a:bodyPr>
          <a:lstStyle/>
          <a:p>
            <a:pPr rtl="0"/>
            <a:endParaRPr lang="en-US" sz="1904" dirty="0"/>
          </a:p>
        </p:txBody>
      </p:sp>
      <p:sp>
        <p:nvSpPr>
          <p:cNvPr id="6" name="Textplatzhalter 3"/>
          <p:cNvSpPr>
            <a:spLocks noGrp="1"/>
          </p:cNvSpPr>
          <p:nvPr>
            <p:ph type="body" sz="quarter" idx="12" hasCustomPrompt="1"/>
          </p:nvPr>
        </p:nvSpPr>
        <p:spPr>
          <a:xfrm>
            <a:off x="304745" y="1701773"/>
            <a:ext cx="11581531" cy="2345173"/>
          </a:xfrm>
        </p:spPr>
        <p:txBody>
          <a:bodyPr>
            <a:noAutofit/>
          </a:bodyPr>
          <a:lstStyle>
            <a:lvl1pPr rtl="0">
              <a:lnSpc>
                <a:spcPct val="104000"/>
              </a:lnSpc>
              <a:spcBef>
                <a:spcPts val="0"/>
              </a:spcBef>
              <a:defRPr sz="5076" b="1">
                <a:solidFill>
                  <a:schemeClr val="bg1"/>
                </a:solidFill>
              </a:defRPr>
            </a:lvl1pPr>
          </a:lstStyle>
          <a:p>
            <a:pPr lvl="0"/>
            <a:r>
              <a:rPr lang="en-US"/>
              <a:t>Slide Divider</a:t>
            </a:r>
            <a:br>
              <a:rPr lang="en-US"/>
            </a:br>
            <a:r>
              <a:rPr lang="en-US"/>
              <a:t>Arial Bold</a:t>
            </a:r>
            <a:br>
              <a:rPr lang="en-US"/>
            </a:br>
            <a:r>
              <a:rPr lang="en-US"/>
              <a:t>48/54/66 pt</a:t>
            </a:r>
            <a:endParaRPr lang="en-US" dirty="0"/>
          </a:p>
        </p:txBody>
      </p:sp>
      <p:grpSp>
        <p:nvGrpSpPr>
          <p:cNvPr id="144" name="Gruppieren 143"/>
          <p:cNvGrpSpPr/>
          <p:nvPr userDrawn="1"/>
        </p:nvGrpSpPr>
        <p:grpSpPr>
          <a:xfrm>
            <a:off x="-368850" y="-326321"/>
            <a:ext cx="12916643" cy="7536892"/>
            <a:chOff x="-348582" y="-308570"/>
            <a:chExt cx="12206900" cy="7126900"/>
          </a:xfrm>
        </p:grpSpPr>
        <p:grpSp>
          <p:nvGrpSpPr>
            <p:cNvPr id="145" name="Gruppieren 144"/>
            <p:cNvGrpSpPr/>
            <p:nvPr userDrawn="1"/>
          </p:nvGrpSpPr>
          <p:grpSpPr>
            <a:xfrm>
              <a:off x="-348582" y="362069"/>
              <a:ext cx="180000" cy="5931473"/>
              <a:chOff x="-348582" y="362069"/>
              <a:chExt cx="180000" cy="5931473"/>
            </a:xfrm>
          </p:grpSpPr>
          <p:cxnSp>
            <p:nvCxnSpPr>
              <p:cNvPr id="172"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5"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6" name="Gruppieren 145"/>
            <p:cNvGrpSpPr/>
            <p:nvPr userDrawn="1"/>
          </p:nvGrpSpPr>
          <p:grpSpPr>
            <a:xfrm>
              <a:off x="11678318" y="362069"/>
              <a:ext cx="180000" cy="5931473"/>
              <a:chOff x="11678318" y="362069"/>
              <a:chExt cx="180000" cy="5931473"/>
            </a:xfrm>
          </p:grpSpPr>
          <p:cxnSp>
            <p:nvCxnSpPr>
              <p:cNvPr id="165"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7" name="Gruppieren 146"/>
            <p:cNvGrpSpPr/>
            <p:nvPr userDrawn="1"/>
          </p:nvGrpSpPr>
          <p:grpSpPr>
            <a:xfrm>
              <a:off x="288925" y="6638330"/>
              <a:ext cx="10944224" cy="180000"/>
              <a:chOff x="288925" y="6638330"/>
              <a:chExt cx="10944224" cy="180000"/>
            </a:xfrm>
          </p:grpSpPr>
          <p:cxnSp>
            <p:nvCxnSpPr>
              <p:cNvPr id="157"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8" name="Gruppieren 147"/>
            <p:cNvGrpSpPr/>
            <p:nvPr userDrawn="1"/>
          </p:nvGrpSpPr>
          <p:grpSpPr>
            <a:xfrm>
              <a:off x="288925" y="-308570"/>
              <a:ext cx="10944224" cy="180000"/>
              <a:chOff x="288925" y="-308570"/>
              <a:chExt cx="10944224" cy="180000"/>
            </a:xfrm>
          </p:grpSpPr>
          <p:cxnSp>
            <p:nvCxnSpPr>
              <p:cNvPr id="149"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1"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7146625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1 Column">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3822854097"/>
              </p:ext>
            </p:extLst>
          </p:nvPr>
        </p:nvGraphicFramePr>
        <p:xfrm>
          <a:off x="1681" y="1680"/>
          <a:ext cx="1679" cy="1678"/>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6" name="Objekt 5" hidden="1"/>
                      <p:cNvPicPr/>
                      <p:nvPr/>
                    </p:nvPicPr>
                    <p:blipFill>
                      <a:blip r:embed="rId4"/>
                      <a:stretch>
                        <a:fillRect/>
                      </a:stretch>
                    </p:blipFill>
                    <p:spPr>
                      <a:xfrm>
                        <a:off x="1681" y="1680"/>
                        <a:ext cx="1679" cy="1678"/>
                      </a:xfrm>
                      <a:prstGeom prst="rect">
                        <a:avLst/>
                      </a:prstGeom>
                    </p:spPr>
                  </p:pic>
                </p:oleObj>
              </mc:Fallback>
            </mc:AlternateContent>
          </a:graphicData>
        </a:graphic>
      </p:graphicFrame>
      <p:sp>
        <p:nvSpPr>
          <p:cNvPr id="3" name="Textplatzhalter 2"/>
          <p:cNvSpPr>
            <a:spLocks noGrp="1"/>
          </p:cNvSpPr>
          <p:nvPr>
            <p:ph type="body" sz="quarter" idx="10" hasCustomPrompt="1"/>
          </p:nvPr>
        </p:nvSpPr>
        <p:spPr>
          <a:xfrm>
            <a:off x="304746" y="540582"/>
            <a:ext cx="11581530" cy="703041"/>
          </a:xfrm>
        </p:spPr>
        <p:txBody>
          <a:bodyPr>
            <a:noAutofit/>
          </a:bodyPr>
          <a:lstStyle>
            <a:lvl1pPr rtl="0">
              <a:lnSpc>
                <a:spcPct val="90000"/>
              </a:lnSpc>
              <a:spcBef>
                <a:spcPts val="0"/>
              </a:spcBef>
              <a:defRPr sz="2538" b="1" baseline="0">
                <a:solidFill>
                  <a:srgbClr val="12276E"/>
                </a:solidFill>
              </a:defRPr>
            </a:lvl1pPr>
          </a:lstStyle>
          <a:p>
            <a:pPr lvl="0"/>
            <a:r>
              <a:rPr lang="en-US"/>
              <a:t>Action Title</a:t>
            </a:r>
            <a:br>
              <a:rPr lang="en-US"/>
            </a:br>
            <a:r>
              <a:rPr lang="en-US"/>
              <a:t>Arial Bold, 24 pt</a:t>
            </a:r>
            <a:endParaRPr lang="en-US" dirty="0"/>
          </a:p>
        </p:txBody>
      </p:sp>
      <p:sp>
        <p:nvSpPr>
          <p:cNvPr id="20" name="Inhaltsplatzhalter 19"/>
          <p:cNvSpPr>
            <a:spLocks noGrp="1"/>
          </p:cNvSpPr>
          <p:nvPr>
            <p:ph sz="quarter" idx="13" hasCustomPrompt="1"/>
          </p:nvPr>
        </p:nvSpPr>
        <p:spPr>
          <a:xfrm>
            <a:off x="304744" y="1702329"/>
            <a:ext cx="11581531" cy="4469032"/>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ußzeilenplatzhalter 4"/>
          <p:cNvSpPr>
            <a:spLocks noGrp="1"/>
          </p:cNvSpPr>
          <p:nvPr>
            <p:ph type="ftr" sz="quarter" idx="3"/>
          </p:nvPr>
        </p:nvSpPr>
        <p:spPr>
          <a:xfrm>
            <a:off x="305725" y="2518"/>
            <a:ext cx="11580552" cy="354853"/>
          </a:xfrm>
          <a:prstGeom prst="rect">
            <a:avLst/>
          </a:prstGeom>
        </p:spPr>
        <p:txBody>
          <a:bodyPr vert="horz" lIns="0" tIns="0" rIns="0" bIns="0" rtlCol="0" anchor="b"/>
          <a:lstStyle>
            <a:lvl1pPr algn="l" rtl="0">
              <a:lnSpc>
                <a:spcPct val="104000"/>
              </a:lnSpc>
              <a:defRPr sz="1163" b="1">
                <a:solidFill>
                  <a:schemeClr val="tx1"/>
                </a:solidFill>
              </a:defRPr>
            </a:lvl1pPr>
          </a:lstStyle>
          <a:p>
            <a:r>
              <a:rPr lang="en-US"/>
              <a:t>Headline</a:t>
            </a:r>
            <a:endParaRPr lang="en-US" dirty="0"/>
          </a:p>
        </p:txBody>
      </p:sp>
      <p:pic>
        <p:nvPicPr>
          <p:cNvPr id="8" name="Grafik 7"/>
          <p:cNvPicPr>
            <a:picLocks noChangeAspect="1"/>
          </p:cNvPicPr>
          <p:nvPr userDrawn="1"/>
        </p:nvPicPr>
        <p:blipFill rotWithShape="1">
          <a:blip r:embed="rId5">
            <a:extLst>
              <a:ext uri="{28A0092B-C50C-407E-A947-70E740481C1C}">
                <a14:useLocalDpi xmlns:a14="http://schemas.microsoft.com/office/drawing/2010/main" val="0"/>
              </a:ext>
            </a:extLst>
          </a:blip>
          <a:srcRect l="1311" t="29160" r="2494" b="29294"/>
          <a:stretch/>
        </p:blipFill>
        <p:spPr>
          <a:xfrm>
            <a:off x="302367" y="6394337"/>
            <a:ext cx="879528" cy="268274"/>
          </a:xfrm>
          <a:prstGeom prst="rect">
            <a:avLst/>
          </a:prstGeom>
        </p:spPr>
      </p:pic>
    </p:spTree>
    <p:extLst>
      <p:ext uri="{BB962C8B-B14F-4D97-AF65-F5344CB8AC3E}">
        <p14:creationId xmlns:p14="http://schemas.microsoft.com/office/powerpoint/2010/main" val="3347681349"/>
      </p:ext>
    </p:extLst>
  </p:cSld>
  <p:clrMapOvr>
    <a:masterClrMapping/>
  </p:clrMapOvr>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2 Columns">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2644797750"/>
              </p:ext>
            </p:extLst>
          </p:nvPr>
        </p:nvGraphicFramePr>
        <p:xfrm>
          <a:off x="1681" y="1680"/>
          <a:ext cx="1679" cy="1678"/>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3" name="Objekt 2" hidden="1"/>
                      <p:cNvPicPr/>
                      <p:nvPr/>
                    </p:nvPicPr>
                    <p:blipFill>
                      <a:blip r:embed="rId4"/>
                      <a:stretch>
                        <a:fillRect/>
                      </a:stretch>
                    </p:blipFill>
                    <p:spPr>
                      <a:xfrm>
                        <a:off x="1681" y="1680"/>
                        <a:ext cx="1679" cy="1678"/>
                      </a:xfrm>
                      <a:prstGeom prst="rect">
                        <a:avLst/>
                      </a:prstGeom>
                    </p:spPr>
                  </p:pic>
                </p:oleObj>
              </mc:Fallback>
            </mc:AlternateContent>
          </a:graphicData>
        </a:graphic>
      </p:graphicFrame>
      <p:sp>
        <p:nvSpPr>
          <p:cNvPr id="23" name="Inhaltsplatzhalter 19"/>
          <p:cNvSpPr>
            <a:spLocks noGrp="1"/>
          </p:cNvSpPr>
          <p:nvPr>
            <p:ph sz="quarter" idx="13" hasCustomPrompt="1"/>
          </p:nvPr>
        </p:nvSpPr>
        <p:spPr>
          <a:xfrm>
            <a:off x="304745" y="1702329"/>
            <a:ext cx="5715665" cy="4469032"/>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Inhaltsplatzhalter 19"/>
          <p:cNvSpPr>
            <a:spLocks noGrp="1"/>
          </p:cNvSpPr>
          <p:nvPr>
            <p:ph sz="quarter" idx="14" hasCustomPrompt="1"/>
          </p:nvPr>
        </p:nvSpPr>
        <p:spPr>
          <a:xfrm>
            <a:off x="6171592" y="1702329"/>
            <a:ext cx="5715665" cy="4469032"/>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ußzeilenplatzhalter 4"/>
          <p:cNvSpPr>
            <a:spLocks noGrp="1"/>
          </p:cNvSpPr>
          <p:nvPr>
            <p:ph type="ftr" sz="quarter" idx="3"/>
          </p:nvPr>
        </p:nvSpPr>
        <p:spPr>
          <a:xfrm>
            <a:off x="305725" y="2518"/>
            <a:ext cx="11580552" cy="354853"/>
          </a:xfrm>
          <a:prstGeom prst="rect">
            <a:avLst/>
          </a:prstGeom>
        </p:spPr>
        <p:txBody>
          <a:bodyPr vert="horz" lIns="0" tIns="0" rIns="0" bIns="0" rtlCol="0" anchor="b"/>
          <a:lstStyle>
            <a:lvl1pPr algn="l" rtl="0">
              <a:lnSpc>
                <a:spcPct val="104000"/>
              </a:lnSpc>
              <a:defRPr sz="1163" b="1">
                <a:solidFill>
                  <a:schemeClr val="tx1"/>
                </a:solidFill>
              </a:defRPr>
            </a:lvl1pPr>
          </a:lstStyle>
          <a:p>
            <a:r>
              <a:rPr lang="en-US"/>
              <a:t>Headline</a:t>
            </a:r>
            <a:endParaRPr lang="en-US" dirty="0"/>
          </a:p>
        </p:txBody>
      </p:sp>
      <p:sp>
        <p:nvSpPr>
          <p:cNvPr id="10" name="Textplatzhalter 2"/>
          <p:cNvSpPr>
            <a:spLocks noGrp="1"/>
          </p:cNvSpPr>
          <p:nvPr>
            <p:ph type="body" sz="quarter" idx="10" hasCustomPrompt="1"/>
          </p:nvPr>
        </p:nvSpPr>
        <p:spPr>
          <a:xfrm>
            <a:off x="304746" y="540582"/>
            <a:ext cx="11581530" cy="703041"/>
          </a:xfrm>
        </p:spPr>
        <p:txBody>
          <a:bodyPr>
            <a:noAutofit/>
          </a:bodyPr>
          <a:lstStyle>
            <a:lvl1pPr rtl="0">
              <a:lnSpc>
                <a:spcPct val="90000"/>
              </a:lnSpc>
              <a:spcBef>
                <a:spcPts val="0"/>
              </a:spcBef>
              <a:defRPr sz="2538" b="1" baseline="0">
                <a:solidFill>
                  <a:srgbClr val="12276E"/>
                </a:solidFill>
              </a:defRPr>
            </a:lvl1pPr>
          </a:lstStyle>
          <a:p>
            <a:pPr lvl="0"/>
            <a:r>
              <a:rPr lang="en-US"/>
              <a:t>Action Title</a:t>
            </a:r>
            <a:br>
              <a:rPr lang="en-US"/>
            </a:br>
            <a:r>
              <a:rPr lang="en-US"/>
              <a:t>Arial Bold, 24 pt</a:t>
            </a:r>
            <a:endParaRPr lang="en-US" dirty="0"/>
          </a:p>
        </p:txBody>
      </p:sp>
      <p:pic>
        <p:nvPicPr>
          <p:cNvPr id="8" name="Grafik 7"/>
          <p:cNvPicPr>
            <a:picLocks noChangeAspect="1"/>
          </p:cNvPicPr>
          <p:nvPr userDrawn="1"/>
        </p:nvPicPr>
        <p:blipFill rotWithShape="1">
          <a:blip r:embed="rId5">
            <a:extLst>
              <a:ext uri="{28A0092B-C50C-407E-A947-70E740481C1C}">
                <a14:useLocalDpi xmlns:a14="http://schemas.microsoft.com/office/drawing/2010/main" val="0"/>
              </a:ext>
            </a:extLst>
          </a:blip>
          <a:srcRect l="1311" t="29160" r="2494" b="29294"/>
          <a:stretch/>
        </p:blipFill>
        <p:spPr>
          <a:xfrm>
            <a:off x="302367" y="6394337"/>
            <a:ext cx="879528" cy="268274"/>
          </a:xfrm>
          <a:prstGeom prst="rect">
            <a:avLst/>
          </a:prstGeom>
        </p:spPr>
      </p:pic>
    </p:spTree>
    <p:extLst>
      <p:ext uri="{BB962C8B-B14F-4D97-AF65-F5344CB8AC3E}">
        <p14:creationId xmlns:p14="http://schemas.microsoft.com/office/powerpoint/2010/main" val="399337856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3 Columns">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FB1F0920-6F04-4CE5-A144-766E5C4521E1}"/>
              </a:ext>
            </a:extLst>
          </p:cNvPr>
          <p:cNvGraphicFramePr>
            <a:graphicFrameLocks noChangeAspect="1"/>
          </p:cNvGraphicFramePr>
          <p:nvPr userDrawn="1">
            <p:custDataLst>
              <p:tags r:id="rId1"/>
            </p:custDataLst>
            <p:extLst>
              <p:ext uri="{D42A27DB-BD31-4B8C-83A1-F6EECF244321}">
                <p14:modId xmlns:p14="http://schemas.microsoft.com/office/powerpoint/2010/main" val="661582491"/>
              </p:ext>
            </p:extLst>
          </p:nvPr>
        </p:nvGraphicFramePr>
        <p:xfrm>
          <a:off x="1680" y="1680"/>
          <a:ext cx="1680" cy="1679"/>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2" name="Objekt 1" hidden="1">
                        <a:extLst>
                          <a:ext uri="{FF2B5EF4-FFF2-40B4-BE49-F238E27FC236}">
                            <a16:creationId xmlns:a16="http://schemas.microsoft.com/office/drawing/2014/main" id="{FB1F0920-6F04-4CE5-A144-766E5C4521E1}"/>
                          </a:ext>
                        </a:extLst>
                      </p:cNvPr>
                      <p:cNvPicPr/>
                      <p:nvPr/>
                    </p:nvPicPr>
                    <p:blipFill>
                      <a:blip r:embed="rId4"/>
                      <a:stretch>
                        <a:fillRect/>
                      </a:stretch>
                    </p:blipFill>
                    <p:spPr>
                      <a:xfrm>
                        <a:off x="1680" y="1680"/>
                        <a:ext cx="1680" cy="1679"/>
                      </a:xfrm>
                      <a:prstGeom prst="rect">
                        <a:avLst/>
                      </a:prstGeom>
                    </p:spPr>
                  </p:pic>
                </p:oleObj>
              </mc:Fallback>
            </mc:AlternateContent>
          </a:graphicData>
        </a:graphic>
      </p:graphicFrame>
      <p:sp>
        <p:nvSpPr>
          <p:cNvPr id="19" name="Inhaltsplatzhalter 19"/>
          <p:cNvSpPr>
            <a:spLocks noGrp="1"/>
          </p:cNvSpPr>
          <p:nvPr>
            <p:ph sz="quarter" idx="13" hasCustomPrompt="1"/>
          </p:nvPr>
        </p:nvSpPr>
        <p:spPr>
          <a:xfrm>
            <a:off x="304744" y="1702329"/>
            <a:ext cx="3755983" cy="4469032"/>
          </a:xfrm>
        </p:spPr>
        <p:txBody>
          <a:bodyPr/>
          <a:lstStyle>
            <a:lvl1pPr rtl="0">
              <a:defRPr lang="de-DE" dirty="0" smtClean="0"/>
            </a:lvl1pPr>
            <a:lvl2pPr rtl="0">
              <a:defRPr lang="de-DE" dirty="0" smtClean="0"/>
            </a:lvl2pPr>
            <a:lvl3pPr rtl="0">
              <a:defRPr lang="de-DE" dirty="0" smtClean="0"/>
            </a:lvl3pPr>
            <a:lvl4pPr rtl="0">
              <a:defRPr lang="de-DE" dirty="0" smtClean="0"/>
            </a:lvl4pPr>
            <a:lvl5pPr rtl="0">
              <a:defRPr lang="de-DE" dirty="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Inhaltsplatzhalter 19"/>
          <p:cNvSpPr>
            <a:spLocks noGrp="1"/>
          </p:cNvSpPr>
          <p:nvPr>
            <p:ph sz="quarter" idx="14" hasCustomPrompt="1"/>
          </p:nvPr>
        </p:nvSpPr>
        <p:spPr>
          <a:xfrm>
            <a:off x="4213101" y="1702329"/>
            <a:ext cx="3755983" cy="4469032"/>
          </a:xfrm>
        </p:spPr>
        <p:txBody>
          <a:bodyPr/>
          <a:lstStyle>
            <a:lvl1pPr rtl="0">
              <a:defRPr lang="de-DE" dirty="0" smtClean="0"/>
            </a:lvl1pPr>
            <a:lvl2pPr rtl="0">
              <a:defRPr lang="de-DE" dirty="0" smtClean="0"/>
            </a:lvl2pPr>
            <a:lvl3pPr rtl="0">
              <a:defRPr lang="de-DE" dirty="0" smtClean="0"/>
            </a:lvl3pPr>
            <a:lvl4pPr rtl="0">
              <a:defRPr lang="de-DE" dirty="0" smtClean="0"/>
            </a:lvl4pPr>
            <a:lvl5pPr rtl="0">
              <a:defRPr lang="de-DE" dirty="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7" name="Inhaltsplatzhalter 19"/>
          <p:cNvSpPr>
            <a:spLocks noGrp="1"/>
          </p:cNvSpPr>
          <p:nvPr>
            <p:ph sz="quarter" idx="15" hasCustomPrompt="1"/>
          </p:nvPr>
        </p:nvSpPr>
        <p:spPr>
          <a:xfrm>
            <a:off x="8121457" y="1702329"/>
            <a:ext cx="3755983" cy="4469032"/>
          </a:xfrm>
        </p:spPr>
        <p:txBody>
          <a:bodyPr/>
          <a:lstStyle>
            <a:lvl1pPr rtl="0">
              <a:defRPr lang="de-DE" dirty="0" smtClean="0"/>
            </a:lvl1pPr>
            <a:lvl2pPr rtl="0">
              <a:defRPr lang="de-DE" dirty="0" smtClean="0"/>
            </a:lvl2pPr>
            <a:lvl3pPr rtl="0">
              <a:defRPr lang="de-DE" dirty="0" smtClean="0"/>
            </a:lvl3pPr>
            <a:lvl4pPr rtl="0">
              <a:defRPr lang="de-DE" dirty="0" smtClean="0"/>
            </a:lvl4pPr>
            <a:lvl5pPr rtl="0">
              <a:defRPr lang="de-DE" dirty="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ußzeilenplatzhalter 4"/>
          <p:cNvSpPr>
            <a:spLocks noGrp="1"/>
          </p:cNvSpPr>
          <p:nvPr>
            <p:ph type="ftr" sz="quarter" idx="3"/>
          </p:nvPr>
        </p:nvSpPr>
        <p:spPr>
          <a:xfrm>
            <a:off x="305725" y="2518"/>
            <a:ext cx="11580552" cy="354853"/>
          </a:xfrm>
          <a:prstGeom prst="rect">
            <a:avLst/>
          </a:prstGeom>
        </p:spPr>
        <p:txBody>
          <a:bodyPr vert="horz" lIns="0" tIns="0" rIns="0" bIns="0" rtlCol="0" anchor="b"/>
          <a:lstStyle>
            <a:lvl1pPr algn="l" rtl="0">
              <a:lnSpc>
                <a:spcPct val="104000"/>
              </a:lnSpc>
              <a:defRPr sz="1163" b="1">
                <a:solidFill>
                  <a:schemeClr val="tx1"/>
                </a:solidFill>
              </a:defRPr>
            </a:lvl1pPr>
          </a:lstStyle>
          <a:p>
            <a:r>
              <a:rPr lang="en-US"/>
              <a:t>Headline</a:t>
            </a:r>
            <a:endParaRPr lang="en-US" dirty="0"/>
          </a:p>
        </p:txBody>
      </p:sp>
      <p:sp>
        <p:nvSpPr>
          <p:cNvPr id="10" name="Textplatzhalter 2"/>
          <p:cNvSpPr>
            <a:spLocks noGrp="1"/>
          </p:cNvSpPr>
          <p:nvPr>
            <p:ph type="body" sz="quarter" idx="10" hasCustomPrompt="1"/>
          </p:nvPr>
        </p:nvSpPr>
        <p:spPr>
          <a:xfrm>
            <a:off x="304746" y="540582"/>
            <a:ext cx="11581530" cy="703041"/>
          </a:xfrm>
        </p:spPr>
        <p:txBody>
          <a:bodyPr>
            <a:noAutofit/>
          </a:bodyPr>
          <a:lstStyle>
            <a:lvl1pPr rtl="0">
              <a:lnSpc>
                <a:spcPct val="90000"/>
              </a:lnSpc>
              <a:spcBef>
                <a:spcPts val="0"/>
              </a:spcBef>
              <a:defRPr sz="2538" b="1" baseline="0">
                <a:solidFill>
                  <a:srgbClr val="12276E"/>
                </a:solidFill>
              </a:defRPr>
            </a:lvl1pPr>
          </a:lstStyle>
          <a:p>
            <a:pPr lvl="0"/>
            <a:r>
              <a:rPr lang="en-US"/>
              <a:t>Action Title</a:t>
            </a:r>
            <a:br>
              <a:rPr lang="en-US"/>
            </a:br>
            <a:r>
              <a:rPr lang="en-US"/>
              <a:t>Arial Bold, 24 pt</a:t>
            </a:r>
            <a:endParaRPr lang="en-US" dirty="0"/>
          </a:p>
        </p:txBody>
      </p:sp>
      <p:pic>
        <p:nvPicPr>
          <p:cNvPr id="11" name="Grafik 10"/>
          <p:cNvPicPr>
            <a:picLocks noChangeAspect="1"/>
          </p:cNvPicPr>
          <p:nvPr userDrawn="1"/>
        </p:nvPicPr>
        <p:blipFill rotWithShape="1">
          <a:blip r:embed="rId5">
            <a:extLst>
              <a:ext uri="{28A0092B-C50C-407E-A947-70E740481C1C}">
                <a14:useLocalDpi xmlns:a14="http://schemas.microsoft.com/office/drawing/2010/main" val="0"/>
              </a:ext>
            </a:extLst>
          </a:blip>
          <a:srcRect l="1311" t="29160" r="2494" b="29294"/>
          <a:stretch/>
        </p:blipFill>
        <p:spPr>
          <a:xfrm>
            <a:off x="302367" y="6394337"/>
            <a:ext cx="879528" cy="268274"/>
          </a:xfrm>
          <a:prstGeom prst="rect">
            <a:avLst/>
          </a:prstGeom>
        </p:spPr>
      </p:pic>
    </p:spTree>
    <p:extLst>
      <p:ext uri="{BB962C8B-B14F-4D97-AF65-F5344CB8AC3E}">
        <p14:creationId xmlns:p14="http://schemas.microsoft.com/office/powerpoint/2010/main" val="22626363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4 Columns">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0F2A6E6-13F8-4A5E-83DE-E85F92FDF43B}"/>
              </a:ext>
            </a:extLst>
          </p:cNvPr>
          <p:cNvGraphicFramePr>
            <a:graphicFrameLocks noChangeAspect="1"/>
          </p:cNvGraphicFramePr>
          <p:nvPr userDrawn="1">
            <p:custDataLst>
              <p:tags r:id="rId1"/>
            </p:custDataLst>
            <p:extLst>
              <p:ext uri="{D42A27DB-BD31-4B8C-83A1-F6EECF244321}">
                <p14:modId xmlns:p14="http://schemas.microsoft.com/office/powerpoint/2010/main" val="3243899116"/>
              </p:ext>
            </p:extLst>
          </p:nvPr>
        </p:nvGraphicFramePr>
        <p:xfrm>
          <a:off x="1680" y="1680"/>
          <a:ext cx="1680" cy="1679"/>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2" name="Objekt 1" hidden="1">
                        <a:extLst>
                          <a:ext uri="{FF2B5EF4-FFF2-40B4-BE49-F238E27FC236}">
                            <a16:creationId xmlns:a16="http://schemas.microsoft.com/office/drawing/2014/main" id="{90F2A6E6-13F8-4A5E-83DE-E85F92FDF43B}"/>
                          </a:ext>
                        </a:extLst>
                      </p:cNvPr>
                      <p:cNvPicPr/>
                      <p:nvPr/>
                    </p:nvPicPr>
                    <p:blipFill>
                      <a:blip r:embed="rId4"/>
                      <a:stretch>
                        <a:fillRect/>
                      </a:stretch>
                    </p:blipFill>
                    <p:spPr>
                      <a:xfrm>
                        <a:off x="1680" y="1680"/>
                        <a:ext cx="1680" cy="1679"/>
                      </a:xfrm>
                      <a:prstGeom prst="rect">
                        <a:avLst/>
                      </a:prstGeom>
                    </p:spPr>
                  </p:pic>
                </p:oleObj>
              </mc:Fallback>
            </mc:AlternateContent>
          </a:graphicData>
        </a:graphic>
      </p:graphicFrame>
      <p:sp>
        <p:nvSpPr>
          <p:cNvPr id="21" name="Inhaltsplatzhalter 19"/>
          <p:cNvSpPr>
            <a:spLocks noGrp="1"/>
          </p:cNvSpPr>
          <p:nvPr>
            <p:ph sz="quarter" idx="13" hasCustomPrompt="1"/>
          </p:nvPr>
        </p:nvSpPr>
        <p:spPr>
          <a:xfrm>
            <a:off x="304744" y="1702329"/>
            <a:ext cx="2780799" cy="4469032"/>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Inhaltsplatzhalter 19"/>
          <p:cNvSpPr>
            <a:spLocks noGrp="1"/>
          </p:cNvSpPr>
          <p:nvPr>
            <p:ph sz="quarter" idx="14" hasCustomPrompt="1"/>
          </p:nvPr>
        </p:nvSpPr>
        <p:spPr>
          <a:xfrm>
            <a:off x="3238658" y="1702329"/>
            <a:ext cx="2780799" cy="4469032"/>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Inhaltsplatzhalter 19"/>
          <p:cNvSpPr>
            <a:spLocks noGrp="1"/>
          </p:cNvSpPr>
          <p:nvPr>
            <p:ph sz="quarter" idx="15" hasCustomPrompt="1"/>
          </p:nvPr>
        </p:nvSpPr>
        <p:spPr>
          <a:xfrm>
            <a:off x="6171591" y="1702329"/>
            <a:ext cx="2780799" cy="4469032"/>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Inhaltsplatzhalter 19"/>
          <p:cNvSpPr>
            <a:spLocks noGrp="1"/>
          </p:cNvSpPr>
          <p:nvPr>
            <p:ph sz="quarter" idx="16" hasCustomPrompt="1"/>
          </p:nvPr>
        </p:nvSpPr>
        <p:spPr>
          <a:xfrm>
            <a:off x="9104525" y="1702329"/>
            <a:ext cx="2780799" cy="4469032"/>
          </a:xfrm>
        </p:spPr>
        <p:txBody>
          <a:bodyPr/>
          <a:lstStyle>
            <a:lvl1pPr rtl="0">
              <a:defRPr/>
            </a:lvl1pPr>
            <a:lvl2pPr rtl="0">
              <a:defRPr/>
            </a:lvl2pPr>
            <a:lvl3pPr rtl="0">
              <a:defRPr/>
            </a:lvl3pPr>
            <a:lvl4pPr rtl="0">
              <a:defRPr/>
            </a:lvl4pPr>
            <a:lvl5pPr rtl="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Fußzeilenplatzhalter 4"/>
          <p:cNvSpPr>
            <a:spLocks noGrp="1"/>
          </p:cNvSpPr>
          <p:nvPr>
            <p:ph type="ftr" sz="quarter" idx="3"/>
          </p:nvPr>
        </p:nvSpPr>
        <p:spPr>
          <a:xfrm>
            <a:off x="305725" y="2518"/>
            <a:ext cx="11580552" cy="354853"/>
          </a:xfrm>
          <a:prstGeom prst="rect">
            <a:avLst/>
          </a:prstGeom>
        </p:spPr>
        <p:txBody>
          <a:bodyPr vert="horz" lIns="0" tIns="0" rIns="0" bIns="0" rtlCol="0" anchor="b"/>
          <a:lstStyle>
            <a:lvl1pPr algn="l" rtl="0">
              <a:lnSpc>
                <a:spcPct val="104000"/>
              </a:lnSpc>
              <a:defRPr sz="1163" b="1">
                <a:solidFill>
                  <a:schemeClr val="tx1"/>
                </a:solidFill>
              </a:defRPr>
            </a:lvl1pPr>
          </a:lstStyle>
          <a:p>
            <a:r>
              <a:rPr lang="en-US"/>
              <a:t>Headline</a:t>
            </a:r>
            <a:endParaRPr lang="en-US" dirty="0"/>
          </a:p>
        </p:txBody>
      </p:sp>
      <p:sp>
        <p:nvSpPr>
          <p:cNvPr id="11" name="Textplatzhalter 2"/>
          <p:cNvSpPr>
            <a:spLocks noGrp="1"/>
          </p:cNvSpPr>
          <p:nvPr>
            <p:ph type="body" sz="quarter" idx="10" hasCustomPrompt="1"/>
          </p:nvPr>
        </p:nvSpPr>
        <p:spPr>
          <a:xfrm>
            <a:off x="304746" y="540582"/>
            <a:ext cx="11581530" cy="703041"/>
          </a:xfrm>
        </p:spPr>
        <p:txBody>
          <a:bodyPr>
            <a:noAutofit/>
          </a:bodyPr>
          <a:lstStyle>
            <a:lvl1pPr rtl="0">
              <a:lnSpc>
                <a:spcPct val="90000"/>
              </a:lnSpc>
              <a:spcBef>
                <a:spcPts val="0"/>
              </a:spcBef>
              <a:defRPr sz="2538" b="1" baseline="0">
                <a:solidFill>
                  <a:srgbClr val="12276E"/>
                </a:solidFill>
              </a:defRPr>
            </a:lvl1pPr>
          </a:lstStyle>
          <a:p>
            <a:pPr lvl="0"/>
            <a:r>
              <a:rPr lang="en-US"/>
              <a:t>Action Title</a:t>
            </a:r>
            <a:br>
              <a:rPr lang="en-US"/>
            </a:br>
            <a:r>
              <a:rPr lang="en-US"/>
              <a:t>Arial Bold, 24 pt</a:t>
            </a:r>
            <a:endParaRPr lang="en-US" dirty="0"/>
          </a:p>
        </p:txBody>
      </p:sp>
      <p:pic>
        <p:nvPicPr>
          <p:cNvPr id="12" name="Grafik 11"/>
          <p:cNvPicPr>
            <a:picLocks noChangeAspect="1"/>
          </p:cNvPicPr>
          <p:nvPr userDrawn="1"/>
        </p:nvPicPr>
        <p:blipFill rotWithShape="1">
          <a:blip r:embed="rId5">
            <a:extLst>
              <a:ext uri="{28A0092B-C50C-407E-A947-70E740481C1C}">
                <a14:useLocalDpi xmlns:a14="http://schemas.microsoft.com/office/drawing/2010/main" val="0"/>
              </a:ext>
            </a:extLst>
          </a:blip>
          <a:srcRect l="1311" t="29160" r="2494" b="29294"/>
          <a:stretch/>
        </p:blipFill>
        <p:spPr>
          <a:xfrm>
            <a:off x="302367" y="6394337"/>
            <a:ext cx="879528" cy="268274"/>
          </a:xfrm>
          <a:prstGeom prst="rect">
            <a:avLst/>
          </a:prstGeom>
        </p:spPr>
      </p:pic>
    </p:spTree>
    <p:extLst>
      <p:ext uri="{BB962C8B-B14F-4D97-AF65-F5344CB8AC3E}">
        <p14:creationId xmlns:p14="http://schemas.microsoft.com/office/powerpoint/2010/main" val="32427362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7FD963-A078-423E-15A3-672B14F1050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69CD4BB-56D5-21FF-3F82-B47C383B12C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1E3322-EAC6-CD46-5EF2-31AA38DBDE03}"/>
              </a:ext>
            </a:extLst>
          </p:cNvPr>
          <p:cNvSpPr>
            <a:spLocks noGrp="1"/>
          </p:cNvSpPr>
          <p:nvPr>
            <p:ph type="dt" sz="half" idx="10"/>
          </p:nvPr>
        </p:nvSpPr>
        <p:spPr/>
        <p:txBody>
          <a:bodyPr/>
          <a:lstStyle/>
          <a:p>
            <a:fld id="{ADA12347-DBE3-418F-8BB6-59B648B1AE1D}" type="datetimeFigureOut">
              <a:rPr lang="en-US" smtClean="0"/>
              <a:t>9/25/2022</a:t>
            </a:fld>
            <a:endParaRPr lang="en-US"/>
          </a:p>
        </p:txBody>
      </p:sp>
      <p:sp>
        <p:nvSpPr>
          <p:cNvPr id="5" name="Footer Placeholder 4">
            <a:extLst>
              <a:ext uri="{FF2B5EF4-FFF2-40B4-BE49-F238E27FC236}">
                <a16:creationId xmlns:a16="http://schemas.microsoft.com/office/drawing/2014/main" id="{E7780829-6A06-E595-2BEC-535A80DF959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F3F14C4-489E-C134-9C3E-446E6DB5D4DB}"/>
              </a:ext>
            </a:extLst>
          </p:cNvPr>
          <p:cNvSpPr>
            <a:spLocks noGrp="1"/>
          </p:cNvSpPr>
          <p:nvPr>
            <p:ph type="sldNum" sz="quarter" idx="12"/>
          </p:nvPr>
        </p:nvSpPr>
        <p:spPr/>
        <p:txBody>
          <a:bodyPr/>
          <a:lstStyle/>
          <a:p>
            <a:fld id="{2B0AE37F-1DB0-47DB-8054-4F7D5FFC6962}" type="slidenum">
              <a:rPr lang="en-US" smtClean="0"/>
              <a:t>‹#›</a:t>
            </a:fld>
            <a:endParaRPr lang="en-US"/>
          </a:p>
        </p:txBody>
      </p:sp>
    </p:spTree>
    <p:extLst>
      <p:ext uri="{BB962C8B-B14F-4D97-AF65-F5344CB8AC3E}">
        <p14:creationId xmlns:p14="http://schemas.microsoft.com/office/powerpoint/2010/main" val="377463043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Empty Slide With Headline And Action Titl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4AB3146E-C294-468F-BED8-76BFDBF11722}"/>
              </a:ext>
            </a:extLst>
          </p:cNvPr>
          <p:cNvGraphicFramePr>
            <a:graphicFrameLocks noChangeAspect="1"/>
          </p:cNvGraphicFramePr>
          <p:nvPr userDrawn="1">
            <p:custDataLst>
              <p:tags r:id="rId1"/>
            </p:custDataLst>
            <p:extLst>
              <p:ext uri="{D42A27DB-BD31-4B8C-83A1-F6EECF244321}">
                <p14:modId xmlns:p14="http://schemas.microsoft.com/office/powerpoint/2010/main" val="1527043151"/>
              </p:ext>
            </p:extLst>
          </p:nvPr>
        </p:nvGraphicFramePr>
        <p:xfrm>
          <a:off x="1680" y="1680"/>
          <a:ext cx="1680" cy="1679"/>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2" name="Objekt 1" hidden="1">
                        <a:extLst>
                          <a:ext uri="{FF2B5EF4-FFF2-40B4-BE49-F238E27FC236}">
                            <a16:creationId xmlns:a16="http://schemas.microsoft.com/office/drawing/2014/main" id="{4AB3146E-C294-468F-BED8-76BFDBF11722}"/>
                          </a:ext>
                        </a:extLst>
                      </p:cNvPr>
                      <p:cNvPicPr/>
                      <p:nvPr/>
                    </p:nvPicPr>
                    <p:blipFill>
                      <a:blip r:embed="rId4"/>
                      <a:stretch>
                        <a:fillRect/>
                      </a:stretch>
                    </p:blipFill>
                    <p:spPr>
                      <a:xfrm>
                        <a:off x="1680" y="1680"/>
                        <a:ext cx="1680" cy="1679"/>
                      </a:xfrm>
                      <a:prstGeom prst="rect">
                        <a:avLst/>
                      </a:prstGeom>
                    </p:spPr>
                  </p:pic>
                </p:oleObj>
              </mc:Fallback>
            </mc:AlternateContent>
          </a:graphicData>
        </a:graphic>
      </p:graphicFrame>
      <p:sp>
        <p:nvSpPr>
          <p:cNvPr id="6" name="Fußzeilenplatzhalter 4"/>
          <p:cNvSpPr>
            <a:spLocks noGrp="1"/>
          </p:cNvSpPr>
          <p:nvPr>
            <p:ph type="ftr" sz="quarter" idx="3"/>
          </p:nvPr>
        </p:nvSpPr>
        <p:spPr>
          <a:xfrm>
            <a:off x="305725" y="2518"/>
            <a:ext cx="11580552" cy="354853"/>
          </a:xfrm>
          <a:prstGeom prst="rect">
            <a:avLst/>
          </a:prstGeom>
        </p:spPr>
        <p:txBody>
          <a:bodyPr vert="horz" lIns="0" tIns="0" rIns="0" bIns="0" rtlCol="0" anchor="b"/>
          <a:lstStyle>
            <a:lvl1pPr algn="l" rtl="0">
              <a:lnSpc>
                <a:spcPct val="104000"/>
              </a:lnSpc>
              <a:defRPr sz="1163" b="1">
                <a:solidFill>
                  <a:schemeClr val="tx1"/>
                </a:solidFill>
              </a:defRPr>
            </a:lvl1pPr>
          </a:lstStyle>
          <a:p>
            <a:r>
              <a:rPr lang="en-US"/>
              <a:t>Headline</a:t>
            </a:r>
            <a:endParaRPr lang="en-US" dirty="0"/>
          </a:p>
        </p:txBody>
      </p:sp>
      <p:sp>
        <p:nvSpPr>
          <p:cNvPr id="7" name="Textplatzhalter 2"/>
          <p:cNvSpPr>
            <a:spLocks noGrp="1"/>
          </p:cNvSpPr>
          <p:nvPr>
            <p:ph type="body" sz="quarter" idx="10" hasCustomPrompt="1"/>
          </p:nvPr>
        </p:nvSpPr>
        <p:spPr>
          <a:xfrm>
            <a:off x="304746" y="540582"/>
            <a:ext cx="11581530" cy="703041"/>
          </a:xfrm>
        </p:spPr>
        <p:txBody>
          <a:bodyPr>
            <a:noAutofit/>
          </a:bodyPr>
          <a:lstStyle>
            <a:lvl1pPr rtl="0">
              <a:lnSpc>
                <a:spcPct val="90000"/>
              </a:lnSpc>
              <a:spcBef>
                <a:spcPts val="0"/>
              </a:spcBef>
              <a:defRPr sz="2538" b="1" baseline="0">
                <a:solidFill>
                  <a:srgbClr val="12276E"/>
                </a:solidFill>
              </a:defRPr>
            </a:lvl1pPr>
          </a:lstStyle>
          <a:p>
            <a:pPr lvl="0"/>
            <a:r>
              <a:rPr lang="en-US"/>
              <a:t>Action Title</a:t>
            </a:r>
            <a:br>
              <a:rPr lang="en-US"/>
            </a:br>
            <a:r>
              <a:rPr lang="en-US"/>
              <a:t>Arial Bold, 24 pt</a:t>
            </a:r>
            <a:endParaRPr lang="en-US" dirty="0"/>
          </a:p>
        </p:txBody>
      </p:sp>
      <p:pic>
        <p:nvPicPr>
          <p:cNvPr id="8" name="Grafik 7"/>
          <p:cNvPicPr>
            <a:picLocks noChangeAspect="1"/>
          </p:cNvPicPr>
          <p:nvPr userDrawn="1"/>
        </p:nvPicPr>
        <p:blipFill rotWithShape="1">
          <a:blip r:embed="rId5">
            <a:extLst>
              <a:ext uri="{28A0092B-C50C-407E-A947-70E740481C1C}">
                <a14:useLocalDpi xmlns:a14="http://schemas.microsoft.com/office/drawing/2010/main" val="0"/>
              </a:ext>
            </a:extLst>
          </a:blip>
          <a:srcRect l="1311" t="29160" r="2494" b="29294"/>
          <a:stretch/>
        </p:blipFill>
        <p:spPr>
          <a:xfrm>
            <a:off x="302367" y="6394337"/>
            <a:ext cx="879528" cy="268274"/>
          </a:xfrm>
          <a:prstGeom prst="rect">
            <a:avLst/>
          </a:prstGeom>
        </p:spPr>
      </p:pic>
    </p:spTree>
    <p:extLst>
      <p:ext uri="{BB962C8B-B14F-4D97-AF65-F5344CB8AC3E}">
        <p14:creationId xmlns:p14="http://schemas.microsoft.com/office/powerpoint/2010/main" val="28751562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Empty Slide With Headlin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A3CB513B-E364-4F6B-B683-D748255DFB22}"/>
              </a:ext>
            </a:extLst>
          </p:cNvPr>
          <p:cNvGraphicFramePr>
            <a:graphicFrameLocks noChangeAspect="1"/>
          </p:cNvGraphicFramePr>
          <p:nvPr userDrawn="1">
            <p:custDataLst>
              <p:tags r:id="rId1"/>
            </p:custDataLst>
            <p:extLst>
              <p:ext uri="{D42A27DB-BD31-4B8C-83A1-F6EECF244321}">
                <p14:modId xmlns:p14="http://schemas.microsoft.com/office/powerpoint/2010/main" val="3502108840"/>
              </p:ext>
            </p:extLst>
          </p:nvPr>
        </p:nvGraphicFramePr>
        <p:xfrm>
          <a:off x="1680" y="1680"/>
          <a:ext cx="1680" cy="1679"/>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2" name="Objekt 1" hidden="1">
                        <a:extLst>
                          <a:ext uri="{FF2B5EF4-FFF2-40B4-BE49-F238E27FC236}">
                            <a16:creationId xmlns:a16="http://schemas.microsoft.com/office/drawing/2014/main" id="{A3CB513B-E364-4F6B-B683-D748255DFB22}"/>
                          </a:ext>
                        </a:extLst>
                      </p:cNvPr>
                      <p:cNvPicPr/>
                      <p:nvPr/>
                    </p:nvPicPr>
                    <p:blipFill>
                      <a:blip r:embed="rId4"/>
                      <a:stretch>
                        <a:fillRect/>
                      </a:stretch>
                    </p:blipFill>
                    <p:spPr>
                      <a:xfrm>
                        <a:off x="1680" y="1680"/>
                        <a:ext cx="1680" cy="1679"/>
                      </a:xfrm>
                      <a:prstGeom prst="rect">
                        <a:avLst/>
                      </a:prstGeom>
                    </p:spPr>
                  </p:pic>
                </p:oleObj>
              </mc:Fallback>
            </mc:AlternateContent>
          </a:graphicData>
        </a:graphic>
      </p:graphicFrame>
      <p:sp>
        <p:nvSpPr>
          <p:cNvPr id="5" name="Fußzeilenplatzhalter 4"/>
          <p:cNvSpPr>
            <a:spLocks noGrp="1"/>
          </p:cNvSpPr>
          <p:nvPr>
            <p:ph type="ftr" sz="quarter" idx="3"/>
          </p:nvPr>
        </p:nvSpPr>
        <p:spPr>
          <a:xfrm>
            <a:off x="305725" y="2518"/>
            <a:ext cx="11580552" cy="354853"/>
          </a:xfrm>
          <a:prstGeom prst="rect">
            <a:avLst/>
          </a:prstGeom>
        </p:spPr>
        <p:txBody>
          <a:bodyPr vert="horz" lIns="0" tIns="0" rIns="0" bIns="0" rtlCol="0" anchor="b"/>
          <a:lstStyle>
            <a:lvl1pPr algn="l" rtl="0">
              <a:lnSpc>
                <a:spcPct val="104000"/>
              </a:lnSpc>
              <a:defRPr sz="1163" b="1">
                <a:solidFill>
                  <a:schemeClr val="tx1"/>
                </a:solidFill>
              </a:defRPr>
            </a:lvl1pPr>
          </a:lstStyle>
          <a:p>
            <a:r>
              <a:rPr lang="en-US"/>
              <a:t>Headline</a:t>
            </a:r>
            <a:endParaRPr lang="en-US" dirty="0"/>
          </a:p>
        </p:txBody>
      </p:sp>
      <p:pic>
        <p:nvPicPr>
          <p:cNvPr id="6" name="Grafik 5"/>
          <p:cNvPicPr>
            <a:picLocks noChangeAspect="1"/>
          </p:cNvPicPr>
          <p:nvPr userDrawn="1"/>
        </p:nvPicPr>
        <p:blipFill rotWithShape="1">
          <a:blip r:embed="rId5">
            <a:extLst>
              <a:ext uri="{28A0092B-C50C-407E-A947-70E740481C1C}">
                <a14:useLocalDpi xmlns:a14="http://schemas.microsoft.com/office/drawing/2010/main" val="0"/>
              </a:ext>
            </a:extLst>
          </a:blip>
          <a:srcRect l="1311" t="29160" r="2494" b="29294"/>
          <a:stretch/>
        </p:blipFill>
        <p:spPr>
          <a:xfrm>
            <a:off x="302367" y="6394337"/>
            <a:ext cx="879528" cy="268274"/>
          </a:xfrm>
          <a:prstGeom prst="rect">
            <a:avLst/>
          </a:prstGeom>
        </p:spPr>
      </p:pic>
    </p:spTree>
    <p:extLst>
      <p:ext uri="{BB962C8B-B14F-4D97-AF65-F5344CB8AC3E}">
        <p14:creationId xmlns:p14="http://schemas.microsoft.com/office/powerpoint/2010/main" val="12284672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Empty Slide With Full Size Imag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4" name="Grafik 3"/>
          <p:cNvPicPr>
            <a:picLocks noChangeAspect="1"/>
          </p:cNvPicPr>
          <p:nvPr userDrawn="1"/>
        </p:nvPicPr>
        <p:blipFill rotWithShape="1">
          <a:blip r:embed="rId3">
            <a:extLst>
              <a:ext uri="{28A0092B-C50C-407E-A947-70E740481C1C}">
                <a14:useLocalDpi xmlns:a14="http://schemas.microsoft.com/office/drawing/2010/main" val="0"/>
              </a:ext>
            </a:extLst>
          </a:blip>
          <a:srcRect l="1509" t="28994" r="2252" b="29081"/>
          <a:stretch/>
        </p:blipFill>
        <p:spPr>
          <a:xfrm>
            <a:off x="305724" y="6392521"/>
            <a:ext cx="877899" cy="270091"/>
          </a:xfrm>
          <a:prstGeom prst="rect">
            <a:avLst/>
          </a:prstGeom>
        </p:spPr>
      </p:pic>
    </p:spTree>
    <p:extLst>
      <p:ext uri="{BB962C8B-B14F-4D97-AF65-F5344CB8AC3E}">
        <p14:creationId xmlns:p14="http://schemas.microsoft.com/office/powerpoint/2010/main" val="241967549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1282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Empty Slide With Headline And Action 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15217097"/>
              </p:ext>
            </p:extLst>
          </p:nvPr>
        </p:nvGraphicFramePr>
        <p:xfrm>
          <a:off x="1680" y="1681"/>
          <a:ext cx="1680" cy="1679"/>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Object 1" hidden="1"/>
                      <p:cNvPicPr/>
                      <p:nvPr/>
                    </p:nvPicPr>
                    <p:blipFill>
                      <a:blip r:embed="rId4"/>
                      <a:stretch>
                        <a:fillRect/>
                      </a:stretch>
                    </p:blipFill>
                    <p:spPr>
                      <a:xfrm>
                        <a:off x="1680" y="1681"/>
                        <a:ext cx="1680" cy="1679"/>
                      </a:xfrm>
                      <a:prstGeom prst="rect">
                        <a:avLst/>
                      </a:prstGeom>
                    </p:spPr>
                  </p:pic>
                </p:oleObj>
              </mc:Fallback>
            </mc:AlternateContent>
          </a:graphicData>
        </a:graphic>
      </p:graphicFrame>
      <p:pic>
        <p:nvPicPr>
          <p:cNvPr id="8" name="Grafik 7"/>
          <p:cNvPicPr>
            <a:picLocks noChangeAspect="1"/>
          </p:cNvPicPr>
          <p:nvPr userDrawn="1"/>
        </p:nvPicPr>
        <p:blipFill rotWithShape="1">
          <a:blip r:embed="rId5">
            <a:extLst>
              <a:ext uri="{28A0092B-C50C-407E-A947-70E740481C1C}">
                <a14:useLocalDpi xmlns:a14="http://schemas.microsoft.com/office/drawing/2010/main" val="0"/>
              </a:ext>
            </a:extLst>
          </a:blip>
          <a:srcRect l="1311" t="29160" r="2494" b="29294"/>
          <a:stretch/>
        </p:blipFill>
        <p:spPr>
          <a:xfrm>
            <a:off x="302367" y="6394337"/>
            <a:ext cx="879528" cy="268274"/>
          </a:xfrm>
          <a:prstGeom prst="rect">
            <a:avLst/>
          </a:prstGeom>
        </p:spPr>
      </p:pic>
      <p:sp>
        <p:nvSpPr>
          <p:cNvPr id="9" name="Title 1"/>
          <p:cNvSpPr>
            <a:spLocks noGrp="1"/>
          </p:cNvSpPr>
          <p:nvPr>
            <p:ph type="title" hasCustomPrompt="1"/>
          </p:nvPr>
        </p:nvSpPr>
        <p:spPr>
          <a:xfrm>
            <a:off x="304747" y="540582"/>
            <a:ext cx="11592000" cy="684000"/>
          </a:xfrm>
          <a:prstGeom prst="rect">
            <a:avLst/>
          </a:prstGeom>
        </p:spPr>
        <p:txBody>
          <a:bodyPr vert="horz">
            <a:spAutoFit/>
          </a:bodyPr>
          <a:lstStyle>
            <a:lvl1pPr marL="0" marR="0" indent="0" algn="l" defTabSz="966978" rtl="0" eaLnBrk="1" fontAlgn="auto" latinLnBrk="0" hangingPunct="1">
              <a:lnSpc>
                <a:spcPct val="90000"/>
              </a:lnSpc>
              <a:spcBef>
                <a:spcPct val="0"/>
              </a:spcBef>
              <a:spcAft>
                <a:spcPts val="0"/>
              </a:spcAft>
              <a:buClrTx/>
              <a:buSzTx/>
              <a:buFontTx/>
              <a:buNone/>
              <a:tabLst/>
              <a:defRPr sz="2400">
                <a:solidFill>
                  <a:schemeClr val="tx1"/>
                </a:solidFill>
              </a:defRPr>
            </a:lvl1pPr>
          </a:lstStyle>
          <a:p>
            <a:pPr lvl="0"/>
            <a:r>
              <a:rPr lang="en-US" dirty="0"/>
              <a:t>Action Title</a:t>
            </a:r>
            <a:br>
              <a:rPr lang="en-US" dirty="0"/>
            </a:br>
            <a:r>
              <a:rPr lang="en-US" dirty="0"/>
              <a:t>Arial Bold, 24 </a:t>
            </a:r>
            <a:r>
              <a:rPr lang="en-US" dirty="0" err="1"/>
              <a:t>pt</a:t>
            </a:r>
            <a:endParaRPr lang="en-US" dirty="0"/>
          </a:p>
        </p:txBody>
      </p:sp>
      <p:sp>
        <p:nvSpPr>
          <p:cNvPr id="7" name="Headline_placeholder">
            <a:extLst>
              <a:ext uri="{FF2B5EF4-FFF2-40B4-BE49-F238E27FC236}">
                <a16:creationId xmlns:a16="http://schemas.microsoft.com/office/drawing/2014/main" id="{52127E3D-5E83-48B1-9AEC-7F6CFE6E621B}"/>
              </a:ext>
            </a:extLst>
          </p:cNvPr>
          <p:cNvSpPr>
            <a:spLocks noGrp="1"/>
          </p:cNvSpPr>
          <p:nvPr>
            <p:ph type="body" sz="quarter" idx="14" hasCustomPrompt="1"/>
          </p:nvPr>
        </p:nvSpPr>
        <p:spPr>
          <a:xfrm>
            <a:off x="304747" y="188095"/>
            <a:ext cx="11592000" cy="180000"/>
          </a:xfrm>
          <a:prstGeom prst="rect">
            <a:avLst/>
          </a:prstGeom>
        </p:spPr>
        <p:txBody>
          <a:bodyPr>
            <a:spAutoFit/>
          </a:bodyPr>
          <a:lstStyle>
            <a:lvl1pPr>
              <a:defRPr sz="1100"/>
            </a:lvl1pPr>
          </a:lstStyle>
          <a:p>
            <a:pPr lvl="0"/>
            <a:r>
              <a:rPr lang="en-US" dirty="0"/>
              <a:t>Headline</a:t>
            </a:r>
          </a:p>
        </p:txBody>
      </p:sp>
      <p:sp>
        <p:nvSpPr>
          <p:cNvPr id="10" name="Source_placeholder">
            <a:extLst>
              <a:ext uri="{FF2B5EF4-FFF2-40B4-BE49-F238E27FC236}">
                <a16:creationId xmlns:a16="http://schemas.microsoft.com/office/drawing/2014/main" id="{2223B519-5A07-4568-81CB-CE8E782A4543}"/>
              </a:ext>
            </a:extLst>
          </p:cNvPr>
          <p:cNvSpPr>
            <a:spLocks noGrp="1"/>
          </p:cNvSpPr>
          <p:nvPr>
            <p:ph type="body" sz="quarter" idx="15" hasCustomPrompt="1"/>
          </p:nvPr>
        </p:nvSpPr>
        <p:spPr>
          <a:xfrm>
            <a:off x="304747" y="6032861"/>
            <a:ext cx="11592000" cy="144000"/>
          </a:xfrm>
          <a:prstGeom prst="rect">
            <a:avLst/>
          </a:prstGeom>
        </p:spPr>
        <p:txBody>
          <a:bodyPr>
            <a:spAutoFit/>
          </a:bodyPr>
          <a:lstStyle>
            <a:lvl1pPr>
              <a:defRPr sz="900" i="1"/>
            </a:lvl1pPr>
          </a:lstStyle>
          <a:p>
            <a:pPr marL="0" marR="0" lvl="0" indent="0" algn="l" defTabSz="483489" rtl="0" eaLnBrk="1" fontAlgn="auto" latinLnBrk="0" hangingPunct="1">
              <a:lnSpc>
                <a:spcPct val="100000"/>
              </a:lnSpc>
              <a:spcBef>
                <a:spcPts val="0"/>
              </a:spcBef>
              <a:spcAft>
                <a:spcPts val="300"/>
              </a:spcAft>
              <a:buClrTx/>
              <a:buSzTx/>
              <a:buFont typeface="Arial" panose="020B0604020202020204" pitchFamily="34" charset="0"/>
              <a:buNone/>
              <a:tabLst/>
              <a:defRPr/>
            </a:pPr>
            <a:r>
              <a:rPr lang="en-US" dirty="0"/>
              <a:t>Source: Arial italic plain, 9 </a:t>
            </a:r>
            <a:r>
              <a:rPr lang="en-US" dirty="0" err="1"/>
              <a:t>pt</a:t>
            </a:r>
            <a:endParaRPr lang="en-US" dirty="0"/>
          </a:p>
        </p:txBody>
      </p:sp>
    </p:spTree>
    <p:extLst>
      <p:ext uri="{BB962C8B-B14F-4D97-AF65-F5344CB8AC3E}">
        <p14:creationId xmlns:p14="http://schemas.microsoft.com/office/powerpoint/2010/main" val="253273276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Empty Slide With Headline And Action 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764221645"/>
              </p:ext>
            </p:extLst>
          </p:nvPr>
        </p:nvGraphicFramePr>
        <p:xfrm>
          <a:off x="1680" y="1681"/>
          <a:ext cx="1680" cy="1679"/>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Object 1" hidden="1"/>
                      <p:cNvPicPr/>
                      <p:nvPr/>
                    </p:nvPicPr>
                    <p:blipFill>
                      <a:blip r:embed="rId4"/>
                      <a:stretch>
                        <a:fillRect/>
                      </a:stretch>
                    </p:blipFill>
                    <p:spPr>
                      <a:xfrm>
                        <a:off x="1680" y="1681"/>
                        <a:ext cx="1680" cy="1679"/>
                      </a:xfrm>
                      <a:prstGeom prst="rect">
                        <a:avLst/>
                      </a:prstGeom>
                    </p:spPr>
                  </p:pic>
                </p:oleObj>
              </mc:Fallback>
            </mc:AlternateContent>
          </a:graphicData>
        </a:graphic>
      </p:graphicFrame>
      <p:pic>
        <p:nvPicPr>
          <p:cNvPr id="8" name="Grafik 7"/>
          <p:cNvPicPr>
            <a:picLocks noChangeAspect="1"/>
          </p:cNvPicPr>
          <p:nvPr userDrawn="1"/>
        </p:nvPicPr>
        <p:blipFill rotWithShape="1">
          <a:blip r:embed="rId5">
            <a:extLst>
              <a:ext uri="{28A0092B-C50C-407E-A947-70E740481C1C}">
                <a14:useLocalDpi xmlns:a14="http://schemas.microsoft.com/office/drawing/2010/main" val="0"/>
              </a:ext>
            </a:extLst>
          </a:blip>
          <a:srcRect l="1311" t="29160" r="2494" b="29294"/>
          <a:stretch/>
        </p:blipFill>
        <p:spPr>
          <a:xfrm>
            <a:off x="302367" y="6394337"/>
            <a:ext cx="879528" cy="268274"/>
          </a:xfrm>
          <a:prstGeom prst="rect">
            <a:avLst/>
          </a:prstGeom>
        </p:spPr>
      </p:pic>
      <p:sp>
        <p:nvSpPr>
          <p:cNvPr id="9" name="Title 1"/>
          <p:cNvSpPr>
            <a:spLocks noGrp="1"/>
          </p:cNvSpPr>
          <p:nvPr>
            <p:ph type="title" hasCustomPrompt="1"/>
          </p:nvPr>
        </p:nvSpPr>
        <p:spPr>
          <a:xfrm>
            <a:off x="304747" y="540582"/>
            <a:ext cx="11592000" cy="684000"/>
          </a:xfrm>
          <a:prstGeom prst="rect">
            <a:avLst/>
          </a:prstGeom>
        </p:spPr>
        <p:txBody>
          <a:bodyPr vert="horz">
            <a:spAutoFit/>
          </a:bodyPr>
          <a:lstStyle>
            <a:lvl1pPr marL="0" marR="0" indent="0" algn="l" defTabSz="966978" rtl="0" eaLnBrk="1" fontAlgn="auto" latinLnBrk="0" hangingPunct="1">
              <a:lnSpc>
                <a:spcPct val="90000"/>
              </a:lnSpc>
              <a:spcBef>
                <a:spcPct val="0"/>
              </a:spcBef>
              <a:spcAft>
                <a:spcPts val="0"/>
              </a:spcAft>
              <a:buClrTx/>
              <a:buSzTx/>
              <a:buFontTx/>
              <a:buNone/>
              <a:tabLst/>
              <a:defRPr sz="2400">
                <a:solidFill>
                  <a:schemeClr val="tx1"/>
                </a:solidFill>
              </a:defRPr>
            </a:lvl1pPr>
          </a:lstStyle>
          <a:p>
            <a:pPr lvl="0"/>
            <a:r>
              <a:rPr lang="en-US" dirty="0"/>
              <a:t>Action Title</a:t>
            </a:r>
            <a:br>
              <a:rPr lang="en-US" dirty="0"/>
            </a:br>
            <a:r>
              <a:rPr lang="en-US" dirty="0"/>
              <a:t>Arial Bold, 24 </a:t>
            </a:r>
            <a:r>
              <a:rPr lang="en-US" dirty="0" err="1"/>
              <a:t>pt</a:t>
            </a:r>
            <a:endParaRPr lang="en-US" dirty="0"/>
          </a:p>
        </p:txBody>
      </p:sp>
      <p:sp>
        <p:nvSpPr>
          <p:cNvPr id="7" name="Headline_placeholder">
            <a:extLst>
              <a:ext uri="{FF2B5EF4-FFF2-40B4-BE49-F238E27FC236}">
                <a16:creationId xmlns:a16="http://schemas.microsoft.com/office/drawing/2014/main" id="{F8BA8785-EFE1-4062-8EA2-F8101E032639}"/>
              </a:ext>
            </a:extLst>
          </p:cNvPr>
          <p:cNvSpPr>
            <a:spLocks noGrp="1"/>
          </p:cNvSpPr>
          <p:nvPr>
            <p:ph type="body" sz="quarter" idx="14" hasCustomPrompt="1"/>
          </p:nvPr>
        </p:nvSpPr>
        <p:spPr>
          <a:xfrm>
            <a:off x="304747" y="188095"/>
            <a:ext cx="11592000" cy="180000"/>
          </a:xfrm>
          <a:prstGeom prst="rect">
            <a:avLst/>
          </a:prstGeom>
        </p:spPr>
        <p:txBody>
          <a:bodyPr>
            <a:spAutoFit/>
          </a:bodyPr>
          <a:lstStyle>
            <a:lvl1pPr>
              <a:defRPr sz="1100"/>
            </a:lvl1pPr>
          </a:lstStyle>
          <a:p>
            <a:pPr lvl="0"/>
            <a:r>
              <a:rPr lang="en-US" dirty="0"/>
              <a:t>Headline</a:t>
            </a:r>
          </a:p>
        </p:txBody>
      </p:sp>
      <p:sp>
        <p:nvSpPr>
          <p:cNvPr id="10" name="Source_placeholder">
            <a:extLst>
              <a:ext uri="{FF2B5EF4-FFF2-40B4-BE49-F238E27FC236}">
                <a16:creationId xmlns:a16="http://schemas.microsoft.com/office/drawing/2014/main" id="{C08EA533-4B21-45BE-923C-422B829C9C7D}"/>
              </a:ext>
            </a:extLst>
          </p:cNvPr>
          <p:cNvSpPr>
            <a:spLocks noGrp="1"/>
          </p:cNvSpPr>
          <p:nvPr>
            <p:ph type="body" sz="quarter" idx="21" hasCustomPrompt="1"/>
          </p:nvPr>
        </p:nvSpPr>
        <p:spPr>
          <a:xfrm>
            <a:off x="304747" y="6032861"/>
            <a:ext cx="11592000" cy="144000"/>
          </a:xfrm>
          <a:prstGeom prst="rect">
            <a:avLst/>
          </a:prstGeom>
        </p:spPr>
        <p:txBody>
          <a:bodyPr>
            <a:spAutoFit/>
          </a:bodyPr>
          <a:lstStyle>
            <a:lvl1pPr>
              <a:defRPr sz="900" i="1"/>
            </a:lvl1pPr>
          </a:lstStyle>
          <a:p>
            <a:pPr marL="0" marR="0" lvl="0" indent="0" algn="l" defTabSz="483489" rtl="0" eaLnBrk="1" fontAlgn="auto" latinLnBrk="0" hangingPunct="1">
              <a:lnSpc>
                <a:spcPct val="100000"/>
              </a:lnSpc>
              <a:spcBef>
                <a:spcPts val="0"/>
              </a:spcBef>
              <a:spcAft>
                <a:spcPts val="300"/>
              </a:spcAft>
              <a:buClrTx/>
              <a:buSzTx/>
              <a:buFont typeface="Arial" panose="020B0604020202020204" pitchFamily="34" charset="0"/>
              <a:buNone/>
              <a:tabLst/>
              <a:defRPr/>
            </a:pPr>
            <a:r>
              <a:rPr lang="en-US" dirty="0"/>
              <a:t>Source: Arial italic plain, 9 </a:t>
            </a:r>
            <a:r>
              <a:rPr lang="en-US" dirty="0" err="1"/>
              <a:t>pt</a:t>
            </a:r>
            <a:endParaRPr lang="en-US" dirty="0"/>
          </a:p>
        </p:txBody>
      </p:sp>
    </p:spTree>
    <p:extLst>
      <p:ext uri="{BB962C8B-B14F-4D97-AF65-F5344CB8AC3E}">
        <p14:creationId xmlns:p14="http://schemas.microsoft.com/office/powerpoint/2010/main" val="58819717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ext and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18920772"/>
              </p:ext>
            </p:extLst>
          </p:nvPr>
        </p:nvGraphicFramePr>
        <p:xfrm>
          <a:off x="1680" y="1681"/>
          <a:ext cx="1680" cy="1679"/>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p:cNvPicPr/>
                      <p:nvPr/>
                    </p:nvPicPr>
                    <p:blipFill>
                      <a:blip r:embed="rId5"/>
                      <a:stretch>
                        <a:fillRect/>
                      </a:stretch>
                    </p:blipFill>
                    <p:spPr>
                      <a:xfrm>
                        <a:off x="1680" y="1681"/>
                        <a:ext cx="1680" cy="1679"/>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67980" cy="167882"/>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eaLnBrk="1"/>
            <a:endParaRPr lang="en-US" sz="2538"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icture Placeholder 8"/>
          <p:cNvSpPr>
            <a:spLocks noGrp="1"/>
          </p:cNvSpPr>
          <p:nvPr>
            <p:ph type="pic" sz="quarter" idx="14"/>
          </p:nvPr>
        </p:nvSpPr>
        <p:spPr>
          <a:xfrm>
            <a:off x="6360000" y="0"/>
            <a:ext cx="5832000" cy="6858000"/>
          </a:xfrm>
          <a:prstGeom prst="rect">
            <a:avLst/>
          </a:prstGeom>
        </p:spPr>
        <p:txBody>
          <a:bodyPr/>
          <a:lstStyle/>
          <a:p>
            <a:r>
              <a:rPr lang="en-US"/>
              <a:t>Click icon to add picture</a:t>
            </a:r>
            <a:endParaRPr lang="en-US" dirty="0"/>
          </a:p>
        </p:txBody>
      </p:sp>
      <p:pic>
        <p:nvPicPr>
          <p:cNvPr id="11" name="Grafik 11"/>
          <p:cNvPicPr>
            <a:picLocks noChangeAspect="1"/>
          </p:cNvPicPr>
          <p:nvPr userDrawn="1"/>
        </p:nvPicPr>
        <p:blipFill rotWithShape="1">
          <a:blip r:embed="rId6">
            <a:extLst>
              <a:ext uri="{28A0092B-C50C-407E-A947-70E740481C1C}">
                <a14:useLocalDpi xmlns:a14="http://schemas.microsoft.com/office/drawing/2010/main" val="0"/>
              </a:ext>
            </a:extLst>
          </a:blip>
          <a:srcRect l="1311" t="29160" r="2494" b="29294"/>
          <a:stretch/>
        </p:blipFill>
        <p:spPr>
          <a:xfrm>
            <a:off x="302367" y="6394337"/>
            <a:ext cx="879528" cy="268274"/>
          </a:xfrm>
          <a:prstGeom prst="rect">
            <a:avLst/>
          </a:prstGeom>
        </p:spPr>
      </p:pic>
      <p:sp>
        <p:nvSpPr>
          <p:cNvPr id="13" name="Inhaltsplatzhalter 19"/>
          <p:cNvSpPr>
            <a:spLocks noGrp="1"/>
          </p:cNvSpPr>
          <p:nvPr>
            <p:ph sz="quarter" idx="17" hasCustomPrompt="1"/>
          </p:nvPr>
        </p:nvSpPr>
        <p:spPr>
          <a:xfrm>
            <a:off x="304746" y="1602842"/>
            <a:ext cx="5796000" cy="4176000"/>
          </a:xfrm>
          <a:prstGeom prst="rect">
            <a:avLst/>
          </a:prstGeom>
        </p:spPr>
        <p:txBody>
          <a:bodyPr/>
          <a:lstStyle>
            <a:lvl1pPr rtl="0">
              <a:defRPr>
                <a:solidFill>
                  <a:schemeClr val="tx1"/>
                </a:solidFill>
              </a:defRPr>
            </a:lvl1pPr>
            <a:lvl2pPr marL="190350" indent="-190350" rtl="0">
              <a:buSzPct val="80000"/>
              <a:buFont typeface="Wingdings 2" panose="05020102010507070707" pitchFamily="18" charset="2"/>
              <a:buChar char=""/>
              <a:defRPr>
                <a:solidFill>
                  <a:schemeClr val="tx1"/>
                </a:solidFill>
              </a:defRPr>
            </a:lvl2pPr>
            <a:lvl3pPr marL="380700" indent="-190350" rtl="0">
              <a:buSzPct val="80000"/>
              <a:buFont typeface="Wingdings 2" panose="05020102010507070707" pitchFamily="18" charset="2"/>
              <a:buChar char=""/>
              <a:defRPr>
                <a:solidFill>
                  <a:schemeClr val="tx1"/>
                </a:solidFill>
              </a:defRPr>
            </a:lvl3pPr>
            <a:lvl4pPr marL="567428" indent="-186345" rtl="0">
              <a:buSzPct val="80000"/>
              <a:buFont typeface="Arial" panose="020B0604020202020204" pitchFamily="34" charset="0"/>
              <a:buChar char="–"/>
              <a:defRPr>
                <a:solidFill>
                  <a:schemeClr val="tx1"/>
                </a:solidFill>
              </a:defRPr>
            </a:lvl4pPr>
            <a:lvl5pPr marL="760488" indent="-193060" rtl="0">
              <a:buSzPct val="80000"/>
              <a:buFont typeface="Arial" panose="020B0604020202020204" pitchFamily="34" charset="0"/>
              <a:buChar char="○"/>
              <a:defRPr>
                <a:solidFill>
                  <a:schemeClr val="tx1"/>
                </a:solidFill>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
          <p:cNvSpPr>
            <a:spLocks noGrp="1"/>
          </p:cNvSpPr>
          <p:nvPr>
            <p:ph type="title" hasCustomPrompt="1"/>
          </p:nvPr>
        </p:nvSpPr>
        <p:spPr>
          <a:xfrm>
            <a:off x="304746" y="540582"/>
            <a:ext cx="5796000" cy="684000"/>
          </a:xfrm>
          <a:prstGeom prst="rect">
            <a:avLst/>
          </a:prstGeom>
        </p:spPr>
        <p:txBody>
          <a:bodyPr vert="horz" wrap="square">
            <a:spAutoFit/>
          </a:bodyPr>
          <a:lstStyle>
            <a:lvl1pPr marL="0" marR="0" indent="0" algn="l" defTabSz="966978" rtl="0" eaLnBrk="1" fontAlgn="auto" latinLnBrk="0" hangingPunct="1">
              <a:lnSpc>
                <a:spcPct val="90000"/>
              </a:lnSpc>
              <a:spcBef>
                <a:spcPct val="0"/>
              </a:spcBef>
              <a:spcAft>
                <a:spcPts val="0"/>
              </a:spcAft>
              <a:buClrTx/>
              <a:buSzTx/>
              <a:buFontTx/>
              <a:buNone/>
              <a:tabLst/>
              <a:defRPr sz="2400">
                <a:solidFill>
                  <a:schemeClr val="tx1"/>
                </a:solidFill>
              </a:defRPr>
            </a:lvl1pPr>
          </a:lstStyle>
          <a:p>
            <a:pPr lvl="0"/>
            <a:r>
              <a:rPr lang="en-US" dirty="0"/>
              <a:t>Action Title</a:t>
            </a:r>
            <a:br>
              <a:rPr lang="en-US" dirty="0"/>
            </a:br>
            <a:r>
              <a:rPr lang="en-US" dirty="0"/>
              <a:t>Arial Bold, 24 </a:t>
            </a:r>
            <a:r>
              <a:rPr lang="en-US" dirty="0" err="1"/>
              <a:t>pt</a:t>
            </a:r>
            <a:endParaRPr lang="en-US" dirty="0"/>
          </a:p>
        </p:txBody>
      </p:sp>
      <p:sp>
        <p:nvSpPr>
          <p:cNvPr id="14" name="Headline_placeholder">
            <a:extLst>
              <a:ext uri="{FF2B5EF4-FFF2-40B4-BE49-F238E27FC236}">
                <a16:creationId xmlns:a16="http://schemas.microsoft.com/office/drawing/2014/main" id="{688AFA18-B7B2-420C-8E32-770FD72DE9BC}"/>
              </a:ext>
            </a:extLst>
          </p:cNvPr>
          <p:cNvSpPr>
            <a:spLocks noGrp="1"/>
          </p:cNvSpPr>
          <p:nvPr>
            <p:ph type="body" sz="quarter" idx="18" hasCustomPrompt="1"/>
          </p:nvPr>
        </p:nvSpPr>
        <p:spPr>
          <a:xfrm>
            <a:off x="304747" y="188095"/>
            <a:ext cx="5796000" cy="180000"/>
          </a:xfrm>
          <a:prstGeom prst="rect">
            <a:avLst/>
          </a:prstGeom>
        </p:spPr>
        <p:txBody>
          <a:bodyPr>
            <a:spAutoFit/>
          </a:bodyPr>
          <a:lstStyle>
            <a:lvl1pPr>
              <a:defRPr sz="1100"/>
            </a:lvl1pPr>
          </a:lstStyle>
          <a:p>
            <a:pPr lvl="0"/>
            <a:r>
              <a:rPr lang="en-US" dirty="0"/>
              <a:t>Headline</a:t>
            </a:r>
          </a:p>
        </p:txBody>
      </p:sp>
      <p:sp>
        <p:nvSpPr>
          <p:cNvPr id="15" name="Source_placeholder">
            <a:extLst>
              <a:ext uri="{FF2B5EF4-FFF2-40B4-BE49-F238E27FC236}">
                <a16:creationId xmlns:a16="http://schemas.microsoft.com/office/drawing/2014/main" id="{0AE87BE5-FCEC-407F-9F18-BB295E1DADBF}"/>
              </a:ext>
            </a:extLst>
          </p:cNvPr>
          <p:cNvSpPr>
            <a:spLocks noGrp="1"/>
          </p:cNvSpPr>
          <p:nvPr>
            <p:ph type="body" sz="quarter" idx="21" hasCustomPrompt="1"/>
          </p:nvPr>
        </p:nvSpPr>
        <p:spPr>
          <a:xfrm>
            <a:off x="304747" y="6032861"/>
            <a:ext cx="5796000" cy="144000"/>
          </a:xfrm>
          <a:prstGeom prst="rect">
            <a:avLst/>
          </a:prstGeom>
        </p:spPr>
        <p:txBody>
          <a:bodyPr>
            <a:spAutoFit/>
          </a:bodyPr>
          <a:lstStyle>
            <a:lvl1pPr>
              <a:defRPr sz="900" i="1"/>
            </a:lvl1pPr>
          </a:lstStyle>
          <a:p>
            <a:pPr marL="0" marR="0" lvl="0" indent="0" algn="l" defTabSz="483489" rtl="0" eaLnBrk="1" fontAlgn="auto" latinLnBrk="0" hangingPunct="1">
              <a:lnSpc>
                <a:spcPct val="100000"/>
              </a:lnSpc>
              <a:spcBef>
                <a:spcPts val="0"/>
              </a:spcBef>
              <a:spcAft>
                <a:spcPts val="300"/>
              </a:spcAft>
              <a:buClrTx/>
              <a:buSzTx/>
              <a:buFont typeface="Arial" panose="020B0604020202020204" pitchFamily="34" charset="0"/>
              <a:buNone/>
              <a:tabLst/>
              <a:defRPr/>
            </a:pPr>
            <a:r>
              <a:rPr lang="en-US" dirty="0"/>
              <a:t>Source: Arial italic plain, 9 </a:t>
            </a:r>
            <a:r>
              <a:rPr lang="en-US" dirty="0" err="1"/>
              <a:t>pt</a:t>
            </a:r>
            <a:endParaRPr lang="en-US" dirty="0"/>
          </a:p>
        </p:txBody>
      </p:sp>
    </p:spTree>
    <p:extLst>
      <p:ext uri="{BB962C8B-B14F-4D97-AF65-F5344CB8AC3E}">
        <p14:creationId xmlns:p14="http://schemas.microsoft.com/office/powerpoint/2010/main" val="3649745362"/>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_1">
    <p:bg>
      <p:bgPr>
        <a:gradFill flip="none" rotWithShape="1">
          <a:gsLst>
            <a:gs pos="50000">
              <a:srgbClr val="C6C6C6"/>
            </a:gs>
            <a:gs pos="0">
              <a:schemeClr val="bg2"/>
            </a:gs>
            <a:gs pos="100000">
              <a:schemeClr val="accent1"/>
            </a:gs>
          </a:gsLst>
          <a:lin ang="5400000" scaled="1"/>
          <a:tileRect/>
        </a:gra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412907158"/>
              </p:ext>
            </p:extLst>
          </p:nvPr>
        </p:nvGraphicFramePr>
        <p:xfrm>
          <a:off x="1682" y="1680"/>
          <a:ext cx="1679" cy="167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kt 4" hidden="1"/>
                      <p:cNvPicPr/>
                      <p:nvPr/>
                    </p:nvPicPr>
                    <p:blipFill>
                      <a:blip r:embed="rId4"/>
                      <a:stretch>
                        <a:fillRect/>
                      </a:stretch>
                    </p:blipFill>
                    <p:spPr>
                      <a:xfrm>
                        <a:off x="1682" y="1680"/>
                        <a:ext cx="1679" cy="1678"/>
                      </a:xfrm>
                      <a:prstGeom prst="rect">
                        <a:avLst/>
                      </a:prstGeom>
                    </p:spPr>
                  </p:pic>
                </p:oleObj>
              </mc:Fallback>
            </mc:AlternateContent>
          </a:graphicData>
        </a:graphic>
      </p:graphicFrame>
      <p:sp>
        <p:nvSpPr>
          <p:cNvPr id="9" name="Textfeld 8"/>
          <p:cNvSpPr txBox="1"/>
          <p:nvPr userDrawn="1"/>
        </p:nvSpPr>
        <p:spPr>
          <a:xfrm>
            <a:off x="5290459" y="6423027"/>
            <a:ext cx="1709057" cy="276999"/>
          </a:xfrm>
          <a:prstGeom prst="rect">
            <a:avLst/>
          </a:prstGeom>
          <a:noFill/>
        </p:spPr>
        <p:txBody>
          <a:bodyPr wrap="square" lIns="0" tIns="0" rIns="0" bIns="0" rtlCol="0">
            <a:noAutofit/>
          </a:bodyPr>
          <a:lstStyle/>
          <a:p>
            <a:pPr rtl="0" eaLnBrk="1"/>
            <a:endParaRPr lang="en-US" sz="2013" dirty="0"/>
          </a:p>
        </p:txBody>
      </p:sp>
      <p:pic>
        <p:nvPicPr>
          <p:cNvPr id="8" name="Grafik 11"/>
          <p:cNvPicPr>
            <a:picLocks noChangeAspect="1"/>
          </p:cNvPicPr>
          <p:nvPr userDrawn="1"/>
        </p:nvPicPr>
        <p:blipFill rotWithShape="1">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l="1311" t="29160" r="2494" b="29294"/>
          <a:stretch/>
        </p:blipFill>
        <p:spPr>
          <a:xfrm>
            <a:off x="302367" y="6394337"/>
            <a:ext cx="879528" cy="268274"/>
          </a:xfrm>
          <a:prstGeom prst="rect">
            <a:avLst/>
          </a:prstGeom>
        </p:spPr>
      </p:pic>
      <p:sp>
        <p:nvSpPr>
          <p:cNvPr id="7" name="Title 1"/>
          <p:cNvSpPr>
            <a:spLocks noGrp="1"/>
          </p:cNvSpPr>
          <p:nvPr>
            <p:ph type="title" hasCustomPrompt="1"/>
          </p:nvPr>
        </p:nvSpPr>
        <p:spPr>
          <a:xfrm>
            <a:off x="305723" y="1937354"/>
            <a:ext cx="6551022" cy="2340000"/>
          </a:xfrm>
          <a:prstGeom prst="rect">
            <a:avLst/>
          </a:prstGeom>
        </p:spPr>
        <p:txBody>
          <a:bodyPr vert="horz"/>
          <a:lstStyle>
            <a:lvl1pPr marL="0" marR="0" indent="0" algn="l" defTabSz="966978" rtl="0" eaLnBrk="1" fontAlgn="auto" latinLnBrk="0" hangingPunct="1">
              <a:lnSpc>
                <a:spcPct val="100000"/>
              </a:lnSpc>
              <a:spcBef>
                <a:spcPct val="0"/>
              </a:spcBef>
              <a:spcAft>
                <a:spcPts val="0"/>
              </a:spcAft>
              <a:buClrTx/>
              <a:buSzTx/>
              <a:buFontTx/>
              <a:buNone/>
              <a:tabLst/>
              <a:defRPr sz="4400"/>
            </a:lvl1pPr>
          </a:lstStyle>
          <a:p>
            <a:pPr marL="0" marR="0" lvl="0" indent="0" algn="l" defTabSz="966978" rtl="0" eaLnBrk="1" fontAlgn="auto" latinLnBrk="0" hangingPunct="1">
              <a:lnSpc>
                <a:spcPct val="90000"/>
              </a:lnSpc>
              <a:spcBef>
                <a:spcPct val="0"/>
              </a:spcBef>
              <a:spcAft>
                <a:spcPts val="0"/>
              </a:spcAft>
              <a:buClrTx/>
              <a:buSzTx/>
              <a:buFontTx/>
              <a:buNone/>
              <a:tabLst/>
              <a:defRPr/>
            </a:pPr>
            <a:r>
              <a:rPr lang="en-US" dirty="0"/>
              <a:t>Heading Arial Bold</a:t>
            </a:r>
            <a:br>
              <a:rPr lang="en-US" dirty="0"/>
            </a:br>
            <a:r>
              <a:rPr lang="en-US" dirty="0"/>
              <a:t>Maximum 3 lines</a:t>
            </a:r>
            <a:br>
              <a:rPr lang="en-US" dirty="0"/>
            </a:br>
            <a:r>
              <a:rPr lang="en-US" dirty="0"/>
              <a:t>44 </a:t>
            </a:r>
            <a:r>
              <a:rPr lang="en-US" dirty="0" err="1"/>
              <a:t>pt</a:t>
            </a:r>
            <a:endParaRPr lang="en-US" dirty="0"/>
          </a:p>
        </p:txBody>
      </p:sp>
      <p:sp>
        <p:nvSpPr>
          <p:cNvPr id="10" name="Text Placeholder 2"/>
          <p:cNvSpPr>
            <a:spLocks noGrp="1"/>
          </p:cNvSpPr>
          <p:nvPr>
            <p:ph type="body" sz="quarter" idx="10" hasCustomPrompt="1"/>
          </p:nvPr>
        </p:nvSpPr>
        <p:spPr>
          <a:xfrm>
            <a:off x="306388" y="4739379"/>
            <a:ext cx="6550025" cy="360000"/>
          </a:xfrm>
          <a:prstGeom prst="rect">
            <a:avLst/>
          </a:prstGeom>
        </p:spPr>
        <p:txBody>
          <a:bodyPr/>
          <a:lstStyle>
            <a:lvl1pPr marL="0" marR="0" indent="0" algn="l" defTabSz="483489" rtl="0" eaLnBrk="1" fontAlgn="auto" latinLnBrk="0" hangingPunct="1">
              <a:lnSpc>
                <a:spcPct val="100000"/>
              </a:lnSpc>
              <a:spcBef>
                <a:spcPts val="0"/>
              </a:spcBef>
              <a:spcAft>
                <a:spcPts val="300"/>
              </a:spcAft>
              <a:buClrTx/>
              <a:buSzTx/>
              <a:buFont typeface="Arial" panose="020B0604020202020204" pitchFamily="34" charset="0"/>
              <a:buNone/>
              <a:tabLst/>
              <a:defRPr sz="2400"/>
            </a:lvl1pPr>
          </a:lstStyle>
          <a:p>
            <a:pPr marL="0" marR="0" lvl="0" indent="0" algn="l" defTabSz="483489" rtl="0" eaLnBrk="1" fontAlgn="auto" latinLnBrk="0" hangingPunct="1">
              <a:lnSpc>
                <a:spcPct val="100000"/>
              </a:lnSpc>
              <a:spcBef>
                <a:spcPts val="0"/>
              </a:spcBef>
              <a:spcAft>
                <a:spcPts val="300"/>
              </a:spcAft>
              <a:buClrTx/>
              <a:buSzTx/>
              <a:buFont typeface="Arial" panose="020B0604020202020204" pitchFamily="34" charset="0"/>
              <a:buNone/>
              <a:tabLst/>
              <a:defRPr/>
            </a:pPr>
            <a:r>
              <a:rPr lang="en-US" dirty="0"/>
              <a:t>Subheading Arial Regular, 24 </a:t>
            </a:r>
            <a:r>
              <a:rPr lang="en-US" dirty="0" err="1"/>
              <a:t>pt</a:t>
            </a:r>
            <a:endParaRPr lang="en-US" dirty="0"/>
          </a:p>
        </p:txBody>
      </p:sp>
    </p:spTree>
    <p:extLst>
      <p:ext uri="{BB962C8B-B14F-4D97-AF65-F5344CB8AC3E}">
        <p14:creationId xmlns:p14="http://schemas.microsoft.com/office/powerpoint/2010/main" val="67994900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Slide_2">
    <p:bg>
      <p:bgPr>
        <a:gradFill flip="none" rotWithShape="1">
          <a:gsLst>
            <a:gs pos="50000">
              <a:srgbClr val="C6C6C6"/>
            </a:gs>
            <a:gs pos="0">
              <a:schemeClr val="bg2"/>
            </a:gs>
            <a:gs pos="100000">
              <a:schemeClr val="accent1"/>
            </a:gs>
          </a:gsLst>
          <a:lin ang="5400000" scaled="1"/>
          <a:tileRect/>
        </a:gra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550512188"/>
              </p:ext>
            </p:extLst>
          </p:nvPr>
        </p:nvGraphicFramePr>
        <p:xfrm>
          <a:off x="1682" y="1680"/>
          <a:ext cx="1679" cy="167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kt 4" hidden="1"/>
                      <p:cNvPicPr/>
                      <p:nvPr/>
                    </p:nvPicPr>
                    <p:blipFill>
                      <a:blip r:embed="rId4"/>
                      <a:stretch>
                        <a:fillRect/>
                      </a:stretch>
                    </p:blipFill>
                    <p:spPr>
                      <a:xfrm>
                        <a:off x="1682" y="1680"/>
                        <a:ext cx="1679" cy="167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F82597F2-E9E5-4219-87E5-D2EE42A7809A}"/>
              </a:ext>
            </a:extLst>
          </p:cNvPr>
          <p:cNvSpPr/>
          <p:nvPr userDrawn="1"/>
        </p:nvSpPr>
        <p:spPr>
          <a:xfrm>
            <a:off x="3546" y="1601599"/>
            <a:ext cx="8820414" cy="3870195"/>
          </a:xfrm>
          <a:prstGeom prst="rect">
            <a:avLst/>
          </a:prstGeom>
          <a:solidFill>
            <a:schemeClr val="bg1">
              <a:alpha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13" dirty="0">
              <a:solidFill>
                <a:schemeClr val="tx1"/>
              </a:solidFill>
            </a:endParaRPr>
          </a:p>
        </p:txBody>
      </p:sp>
      <p:sp>
        <p:nvSpPr>
          <p:cNvPr id="9" name="Textfeld 8"/>
          <p:cNvSpPr txBox="1"/>
          <p:nvPr userDrawn="1"/>
        </p:nvSpPr>
        <p:spPr>
          <a:xfrm>
            <a:off x="5290459" y="6423027"/>
            <a:ext cx="1709057" cy="276999"/>
          </a:xfrm>
          <a:prstGeom prst="rect">
            <a:avLst/>
          </a:prstGeom>
          <a:noFill/>
        </p:spPr>
        <p:txBody>
          <a:bodyPr wrap="square" lIns="0" tIns="0" rIns="0" bIns="0" rtlCol="0">
            <a:noAutofit/>
          </a:bodyPr>
          <a:lstStyle/>
          <a:p>
            <a:pPr rtl="0" eaLnBrk="1"/>
            <a:endParaRPr lang="en-US" sz="2013" dirty="0"/>
          </a:p>
        </p:txBody>
      </p:sp>
      <p:sp>
        <p:nvSpPr>
          <p:cNvPr id="10" name="Title 1"/>
          <p:cNvSpPr>
            <a:spLocks noGrp="1"/>
          </p:cNvSpPr>
          <p:nvPr>
            <p:ph type="title" hasCustomPrompt="1"/>
          </p:nvPr>
        </p:nvSpPr>
        <p:spPr>
          <a:xfrm>
            <a:off x="305723" y="1937354"/>
            <a:ext cx="8100000" cy="2340000"/>
          </a:xfrm>
          <a:prstGeom prst="rect">
            <a:avLst/>
          </a:prstGeom>
        </p:spPr>
        <p:txBody>
          <a:bodyPr vert="horz"/>
          <a:lstStyle>
            <a:lvl1pPr marL="0" marR="0" indent="0" algn="l" defTabSz="966978" rtl="0" eaLnBrk="1" fontAlgn="auto" latinLnBrk="0" hangingPunct="1">
              <a:lnSpc>
                <a:spcPct val="100000"/>
              </a:lnSpc>
              <a:spcBef>
                <a:spcPct val="0"/>
              </a:spcBef>
              <a:spcAft>
                <a:spcPts val="0"/>
              </a:spcAft>
              <a:buClrTx/>
              <a:buSzTx/>
              <a:buFontTx/>
              <a:buNone/>
              <a:tabLst/>
              <a:defRPr sz="4400"/>
            </a:lvl1pPr>
          </a:lstStyle>
          <a:p>
            <a:pPr marL="0" marR="0" lvl="0" indent="0" algn="l" defTabSz="966978" rtl="0" eaLnBrk="1" fontAlgn="auto" latinLnBrk="0" hangingPunct="1">
              <a:lnSpc>
                <a:spcPct val="90000"/>
              </a:lnSpc>
              <a:spcBef>
                <a:spcPct val="0"/>
              </a:spcBef>
              <a:spcAft>
                <a:spcPts val="0"/>
              </a:spcAft>
              <a:buClrTx/>
              <a:buSzTx/>
              <a:buFontTx/>
              <a:buNone/>
              <a:tabLst/>
              <a:defRPr/>
            </a:pPr>
            <a:r>
              <a:rPr lang="en-US" dirty="0"/>
              <a:t>Heading Arial Bold</a:t>
            </a:r>
            <a:br>
              <a:rPr lang="en-US" dirty="0"/>
            </a:br>
            <a:r>
              <a:rPr lang="en-US" dirty="0"/>
              <a:t>Maximum 3 lines</a:t>
            </a:r>
            <a:br>
              <a:rPr lang="en-US" dirty="0"/>
            </a:br>
            <a:r>
              <a:rPr lang="en-US" dirty="0"/>
              <a:t>44 </a:t>
            </a:r>
            <a:r>
              <a:rPr lang="en-US" dirty="0" err="1"/>
              <a:t>pt</a:t>
            </a:r>
            <a:endParaRPr lang="en-US" dirty="0"/>
          </a:p>
        </p:txBody>
      </p:sp>
      <p:sp>
        <p:nvSpPr>
          <p:cNvPr id="11" name="Text Placeholder 2"/>
          <p:cNvSpPr>
            <a:spLocks noGrp="1"/>
          </p:cNvSpPr>
          <p:nvPr>
            <p:ph type="body" sz="quarter" idx="10" hasCustomPrompt="1"/>
          </p:nvPr>
        </p:nvSpPr>
        <p:spPr>
          <a:xfrm>
            <a:off x="306389" y="4739379"/>
            <a:ext cx="8100000" cy="360000"/>
          </a:xfrm>
          <a:prstGeom prst="rect">
            <a:avLst/>
          </a:prstGeom>
        </p:spPr>
        <p:txBody>
          <a:bodyPr/>
          <a:lstStyle>
            <a:lvl1pPr marL="0" marR="0" indent="0" algn="l" defTabSz="483489" rtl="0" eaLnBrk="1" fontAlgn="auto" latinLnBrk="0" hangingPunct="1">
              <a:lnSpc>
                <a:spcPct val="100000"/>
              </a:lnSpc>
              <a:spcBef>
                <a:spcPts val="0"/>
              </a:spcBef>
              <a:spcAft>
                <a:spcPts val="300"/>
              </a:spcAft>
              <a:buClrTx/>
              <a:buSzTx/>
              <a:buFont typeface="Arial" panose="020B0604020202020204" pitchFamily="34" charset="0"/>
              <a:buNone/>
              <a:tabLst/>
              <a:defRPr sz="2400"/>
            </a:lvl1pPr>
          </a:lstStyle>
          <a:p>
            <a:pPr marL="0" marR="0" lvl="0" indent="0" algn="l" defTabSz="483489" rtl="0" eaLnBrk="1" fontAlgn="auto" latinLnBrk="0" hangingPunct="1">
              <a:lnSpc>
                <a:spcPct val="100000"/>
              </a:lnSpc>
              <a:spcBef>
                <a:spcPts val="0"/>
              </a:spcBef>
              <a:spcAft>
                <a:spcPts val="300"/>
              </a:spcAft>
              <a:buClrTx/>
              <a:buSzTx/>
              <a:buFont typeface="Arial" panose="020B0604020202020204" pitchFamily="34" charset="0"/>
              <a:buNone/>
              <a:tabLst/>
              <a:defRPr/>
            </a:pPr>
            <a:r>
              <a:rPr lang="en-US" dirty="0"/>
              <a:t>Subheading Arial Regular, 24 </a:t>
            </a:r>
            <a:r>
              <a:rPr lang="en-US" dirty="0" err="1"/>
              <a:t>pt</a:t>
            </a:r>
            <a:endParaRPr lang="en-US" dirty="0"/>
          </a:p>
        </p:txBody>
      </p:sp>
      <p:pic>
        <p:nvPicPr>
          <p:cNvPr id="12" name="Grafik 7"/>
          <p:cNvPicPr>
            <a:picLocks noChangeAspect="1"/>
          </p:cNvPicPr>
          <p:nvPr userDrawn="1"/>
        </p:nvPicPr>
        <p:blipFill rotWithShape="1">
          <a:blip r:embed="rId5">
            <a:extLst>
              <a:ext uri="{28A0092B-C50C-407E-A947-70E740481C1C}">
                <a14:useLocalDpi xmlns:a14="http://schemas.microsoft.com/office/drawing/2010/main" val="0"/>
              </a:ext>
            </a:extLst>
          </a:blip>
          <a:srcRect l="1311" t="29160" r="2494" b="29294"/>
          <a:stretch/>
        </p:blipFill>
        <p:spPr>
          <a:xfrm>
            <a:off x="302367" y="6394337"/>
            <a:ext cx="879528" cy="268274"/>
          </a:xfrm>
          <a:prstGeom prst="rect">
            <a:avLst/>
          </a:prstGeom>
        </p:spPr>
      </p:pic>
    </p:spTree>
    <p:extLst>
      <p:ext uri="{BB962C8B-B14F-4D97-AF65-F5344CB8AC3E}">
        <p14:creationId xmlns:p14="http://schemas.microsoft.com/office/powerpoint/2010/main" val="33782370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lide Divider">
    <p:bg>
      <p:bgPr>
        <a:gradFill flip="none" rotWithShape="1">
          <a:gsLst>
            <a:gs pos="50000">
              <a:srgbClr val="CACACA"/>
            </a:gs>
            <a:gs pos="0">
              <a:schemeClr val="bg2"/>
            </a:gs>
            <a:gs pos="100000">
              <a:schemeClr val="accent1"/>
            </a:gs>
          </a:gsLst>
          <a:lin ang="54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70320593"/>
              </p:ext>
            </p:extLst>
          </p:nvPr>
        </p:nvGraphicFramePr>
        <p:xfrm>
          <a:off x="1680" y="1681"/>
          <a:ext cx="1680" cy="1679"/>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Object 1" hidden="1"/>
                      <p:cNvPicPr/>
                      <p:nvPr/>
                    </p:nvPicPr>
                    <p:blipFill>
                      <a:blip r:embed="rId4"/>
                      <a:stretch>
                        <a:fillRect/>
                      </a:stretch>
                    </p:blipFill>
                    <p:spPr>
                      <a:xfrm>
                        <a:off x="1680" y="1681"/>
                        <a:ext cx="1680" cy="1679"/>
                      </a:xfrm>
                      <a:prstGeom prst="rect">
                        <a:avLst/>
                      </a:prstGeom>
                    </p:spPr>
                  </p:pic>
                </p:oleObj>
              </mc:Fallback>
            </mc:AlternateContent>
          </a:graphicData>
        </a:graphic>
      </p:graphicFrame>
      <p:sp>
        <p:nvSpPr>
          <p:cNvPr id="9" name="Textfeld 8"/>
          <p:cNvSpPr txBox="1"/>
          <p:nvPr userDrawn="1"/>
        </p:nvSpPr>
        <p:spPr>
          <a:xfrm>
            <a:off x="5290459" y="6423027"/>
            <a:ext cx="1709057" cy="276999"/>
          </a:xfrm>
          <a:prstGeom prst="rect">
            <a:avLst/>
          </a:prstGeom>
          <a:noFill/>
        </p:spPr>
        <p:txBody>
          <a:bodyPr wrap="square" lIns="0" tIns="0" rIns="0" bIns="0" rtlCol="0">
            <a:noAutofit/>
          </a:bodyPr>
          <a:lstStyle/>
          <a:p>
            <a:pPr rtl="0" eaLnBrk="1"/>
            <a:endParaRPr lang="en-US" sz="2013" dirty="0">
              <a:solidFill>
                <a:schemeClr val="bg1"/>
              </a:solidFill>
            </a:endParaRPr>
          </a:p>
        </p:txBody>
      </p:sp>
      <p:sp>
        <p:nvSpPr>
          <p:cNvPr id="5" name="Title 1"/>
          <p:cNvSpPr>
            <a:spLocks noGrp="1"/>
          </p:cNvSpPr>
          <p:nvPr>
            <p:ph type="title" hasCustomPrompt="1"/>
          </p:nvPr>
        </p:nvSpPr>
        <p:spPr>
          <a:xfrm>
            <a:off x="305723" y="1937354"/>
            <a:ext cx="8100000" cy="2340000"/>
          </a:xfrm>
          <a:prstGeom prst="rect">
            <a:avLst/>
          </a:prstGeom>
        </p:spPr>
        <p:txBody>
          <a:bodyPr vert="horz" anchor="ctr"/>
          <a:lstStyle>
            <a:lvl1pPr marL="0" marR="0" indent="0" algn="l" defTabSz="966978" rtl="0" eaLnBrk="1" fontAlgn="auto" latinLnBrk="0" hangingPunct="1">
              <a:lnSpc>
                <a:spcPct val="100000"/>
              </a:lnSpc>
              <a:spcBef>
                <a:spcPct val="0"/>
              </a:spcBef>
              <a:spcAft>
                <a:spcPts val="0"/>
              </a:spcAft>
              <a:buClrTx/>
              <a:buSzTx/>
              <a:buFontTx/>
              <a:buNone/>
              <a:tabLst/>
              <a:defRPr sz="4800">
                <a:solidFill>
                  <a:schemeClr val="tx1"/>
                </a:solidFill>
              </a:defRPr>
            </a:lvl1pPr>
          </a:lstStyle>
          <a:p>
            <a:pPr lvl="0"/>
            <a:r>
              <a:rPr lang="en-US" dirty="0"/>
              <a:t>Slide Divider</a:t>
            </a:r>
            <a:br>
              <a:rPr lang="en-US" dirty="0"/>
            </a:br>
            <a:r>
              <a:rPr lang="en-US" dirty="0"/>
              <a:t>Arial Bold</a:t>
            </a:r>
            <a:br>
              <a:rPr lang="en-US" dirty="0"/>
            </a:br>
            <a:r>
              <a:rPr lang="en-US" dirty="0"/>
              <a:t>48/54/66 </a:t>
            </a:r>
            <a:r>
              <a:rPr lang="en-US" dirty="0" err="1"/>
              <a:t>pt</a:t>
            </a:r>
            <a:endParaRPr lang="en-US" dirty="0"/>
          </a:p>
        </p:txBody>
      </p:sp>
    </p:spTree>
    <p:extLst>
      <p:ext uri="{BB962C8B-B14F-4D97-AF65-F5344CB8AC3E}">
        <p14:creationId xmlns:p14="http://schemas.microsoft.com/office/powerpoint/2010/main" val="18116481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362A6D-B95F-C2D5-83BC-F86B6530C62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E020078-209A-FDC8-9E6B-8078CAA61D1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DFAFC25-7010-D8FD-9C48-9D4C54766231}"/>
              </a:ext>
            </a:extLst>
          </p:cNvPr>
          <p:cNvSpPr>
            <a:spLocks noGrp="1"/>
          </p:cNvSpPr>
          <p:nvPr>
            <p:ph type="dt" sz="half" idx="10"/>
          </p:nvPr>
        </p:nvSpPr>
        <p:spPr/>
        <p:txBody>
          <a:bodyPr/>
          <a:lstStyle/>
          <a:p>
            <a:fld id="{ADA12347-DBE3-418F-8BB6-59B648B1AE1D}" type="datetimeFigureOut">
              <a:rPr lang="en-US" smtClean="0"/>
              <a:t>9/25/2022</a:t>
            </a:fld>
            <a:endParaRPr lang="en-US"/>
          </a:p>
        </p:txBody>
      </p:sp>
      <p:sp>
        <p:nvSpPr>
          <p:cNvPr id="5" name="Footer Placeholder 4">
            <a:extLst>
              <a:ext uri="{FF2B5EF4-FFF2-40B4-BE49-F238E27FC236}">
                <a16:creationId xmlns:a16="http://schemas.microsoft.com/office/drawing/2014/main" id="{28613D55-5D74-9186-DC0B-C4E75CAD37A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173B4A0-4AAA-9C03-242C-0E432B16E00A}"/>
              </a:ext>
            </a:extLst>
          </p:cNvPr>
          <p:cNvSpPr>
            <a:spLocks noGrp="1"/>
          </p:cNvSpPr>
          <p:nvPr>
            <p:ph type="sldNum" sz="quarter" idx="12"/>
          </p:nvPr>
        </p:nvSpPr>
        <p:spPr/>
        <p:txBody>
          <a:bodyPr/>
          <a:lstStyle/>
          <a:p>
            <a:fld id="{2B0AE37F-1DB0-47DB-8054-4F7D5FFC6962}" type="slidenum">
              <a:rPr lang="en-US" smtClean="0"/>
              <a:t>‹#›</a:t>
            </a:fld>
            <a:endParaRPr lang="en-US"/>
          </a:p>
        </p:txBody>
      </p:sp>
    </p:spTree>
    <p:extLst>
      <p:ext uri="{BB962C8B-B14F-4D97-AF65-F5344CB8AC3E}">
        <p14:creationId xmlns:p14="http://schemas.microsoft.com/office/powerpoint/2010/main" val="363718541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Slide Divider_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20423654"/>
              </p:ext>
            </p:extLst>
          </p:nvPr>
        </p:nvGraphicFramePr>
        <p:xfrm>
          <a:off x="1680" y="1681"/>
          <a:ext cx="1680" cy="1679"/>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Object 1" hidden="1"/>
                      <p:cNvPicPr/>
                      <p:nvPr/>
                    </p:nvPicPr>
                    <p:blipFill>
                      <a:blip r:embed="rId4"/>
                      <a:stretch>
                        <a:fillRect/>
                      </a:stretch>
                    </p:blipFill>
                    <p:spPr>
                      <a:xfrm>
                        <a:off x="1680" y="1681"/>
                        <a:ext cx="1680" cy="1679"/>
                      </a:xfrm>
                      <a:prstGeom prst="rect">
                        <a:avLst/>
                      </a:prstGeom>
                    </p:spPr>
                  </p:pic>
                </p:oleObj>
              </mc:Fallback>
            </mc:AlternateContent>
          </a:graphicData>
        </a:graphic>
      </p:graphicFrame>
      <p:sp>
        <p:nvSpPr>
          <p:cNvPr id="9" name="Textfeld 8"/>
          <p:cNvSpPr txBox="1"/>
          <p:nvPr userDrawn="1"/>
        </p:nvSpPr>
        <p:spPr>
          <a:xfrm>
            <a:off x="5290459" y="6423027"/>
            <a:ext cx="1709057" cy="276999"/>
          </a:xfrm>
          <a:prstGeom prst="rect">
            <a:avLst/>
          </a:prstGeom>
          <a:noFill/>
        </p:spPr>
        <p:txBody>
          <a:bodyPr wrap="square" lIns="0" tIns="0" rIns="0" bIns="0" rtlCol="0">
            <a:noAutofit/>
          </a:bodyPr>
          <a:lstStyle/>
          <a:p>
            <a:pPr rtl="0" eaLnBrk="1"/>
            <a:endParaRPr lang="en-US" sz="2013" dirty="0">
              <a:solidFill>
                <a:schemeClr val="bg1"/>
              </a:solidFill>
            </a:endParaRPr>
          </a:p>
        </p:txBody>
      </p:sp>
      <p:sp>
        <p:nvSpPr>
          <p:cNvPr id="5" name="Title 1"/>
          <p:cNvSpPr>
            <a:spLocks noGrp="1"/>
          </p:cNvSpPr>
          <p:nvPr>
            <p:ph type="title" hasCustomPrompt="1"/>
          </p:nvPr>
        </p:nvSpPr>
        <p:spPr>
          <a:xfrm>
            <a:off x="4155440" y="2256413"/>
            <a:ext cx="7056000" cy="2340000"/>
          </a:xfrm>
          <a:prstGeom prst="rect">
            <a:avLst/>
          </a:prstGeom>
        </p:spPr>
        <p:txBody>
          <a:bodyPr vert="horz"/>
          <a:lstStyle>
            <a:lvl1pPr marL="0" marR="0" indent="0" algn="l" defTabSz="966978" rtl="0" eaLnBrk="1" fontAlgn="auto" latinLnBrk="0" hangingPunct="1">
              <a:lnSpc>
                <a:spcPct val="100000"/>
              </a:lnSpc>
              <a:spcBef>
                <a:spcPct val="0"/>
              </a:spcBef>
              <a:spcAft>
                <a:spcPts val="0"/>
              </a:spcAft>
              <a:buClrTx/>
              <a:buSzTx/>
              <a:buFontTx/>
              <a:buNone/>
              <a:tabLst/>
              <a:defRPr sz="4800">
                <a:solidFill>
                  <a:schemeClr val="tx1"/>
                </a:solidFill>
              </a:defRPr>
            </a:lvl1pPr>
          </a:lstStyle>
          <a:p>
            <a:pPr lvl="0"/>
            <a:r>
              <a:rPr lang="en-US" dirty="0"/>
              <a:t>Slide Divider</a:t>
            </a:r>
            <a:br>
              <a:rPr lang="en-US" dirty="0"/>
            </a:br>
            <a:r>
              <a:rPr lang="en-US" dirty="0"/>
              <a:t>Arial Bold</a:t>
            </a:r>
            <a:br>
              <a:rPr lang="en-US" dirty="0"/>
            </a:br>
            <a:r>
              <a:rPr lang="en-US" dirty="0"/>
              <a:t>48/54/66 </a:t>
            </a:r>
            <a:r>
              <a:rPr lang="en-US" dirty="0" err="1"/>
              <a:t>pt</a:t>
            </a:r>
            <a:endParaRPr lang="en-US" dirty="0"/>
          </a:p>
        </p:txBody>
      </p:sp>
      <p:sp>
        <p:nvSpPr>
          <p:cNvPr id="6" name="Rectangle 5"/>
          <p:cNvSpPr/>
          <p:nvPr userDrawn="1"/>
        </p:nvSpPr>
        <p:spPr>
          <a:xfrm>
            <a:off x="0" y="-1"/>
            <a:ext cx="3787429" cy="685800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13" dirty="0">
              <a:solidFill>
                <a:schemeClr val="bg1"/>
              </a:solidFill>
            </a:endParaRPr>
          </a:p>
        </p:txBody>
      </p:sp>
      <p:cxnSp>
        <p:nvCxnSpPr>
          <p:cNvPr id="7" name="Straight Connector 6"/>
          <p:cNvCxnSpPr/>
          <p:nvPr userDrawn="1"/>
        </p:nvCxnSpPr>
        <p:spPr>
          <a:xfrm>
            <a:off x="4155440" y="2023110"/>
            <a:ext cx="70560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118240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lide Divider_2">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38873741"/>
              </p:ext>
            </p:extLst>
          </p:nvPr>
        </p:nvGraphicFramePr>
        <p:xfrm>
          <a:off x="1680" y="1681"/>
          <a:ext cx="1680" cy="1679"/>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Object 1" hidden="1"/>
                      <p:cNvPicPr/>
                      <p:nvPr/>
                    </p:nvPicPr>
                    <p:blipFill>
                      <a:blip r:embed="rId4"/>
                      <a:stretch>
                        <a:fillRect/>
                      </a:stretch>
                    </p:blipFill>
                    <p:spPr>
                      <a:xfrm>
                        <a:off x="1680" y="1681"/>
                        <a:ext cx="1680" cy="1679"/>
                      </a:xfrm>
                      <a:prstGeom prst="rect">
                        <a:avLst/>
                      </a:prstGeom>
                    </p:spPr>
                  </p:pic>
                </p:oleObj>
              </mc:Fallback>
            </mc:AlternateContent>
          </a:graphicData>
        </a:graphic>
      </p:graphicFrame>
      <p:sp>
        <p:nvSpPr>
          <p:cNvPr id="9" name="Textfeld 8"/>
          <p:cNvSpPr txBox="1"/>
          <p:nvPr userDrawn="1"/>
        </p:nvSpPr>
        <p:spPr>
          <a:xfrm>
            <a:off x="5290459" y="6423027"/>
            <a:ext cx="1709057" cy="276999"/>
          </a:xfrm>
          <a:prstGeom prst="rect">
            <a:avLst/>
          </a:prstGeom>
          <a:noFill/>
        </p:spPr>
        <p:txBody>
          <a:bodyPr wrap="square" lIns="0" tIns="0" rIns="0" bIns="0" rtlCol="0">
            <a:noAutofit/>
          </a:bodyPr>
          <a:lstStyle/>
          <a:p>
            <a:pPr rtl="0" eaLnBrk="1"/>
            <a:endParaRPr lang="en-US" sz="2013" dirty="0">
              <a:solidFill>
                <a:schemeClr val="bg1"/>
              </a:solidFill>
            </a:endParaRPr>
          </a:p>
        </p:txBody>
      </p:sp>
      <p:sp>
        <p:nvSpPr>
          <p:cNvPr id="5" name="Title 1"/>
          <p:cNvSpPr>
            <a:spLocks noGrp="1"/>
          </p:cNvSpPr>
          <p:nvPr>
            <p:ph type="title" hasCustomPrompt="1"/>
          </p:nvPr>
        </p:nvSpPr>
        <p:spPr>
          <a:xfrm>
            <a:off x="4155440" y="2256412"/>
            <a:ext cx="7056000" cy="2340000"/>
          </a:xfrm>
          <a:prstGeom prst="rect">
            <a:avLst/>
          </a:prstGeom>
        </p:spPr>
        <p:txBody>
          <a:bodyPr vert="horz"/>
          <a:lstStyle>
            <a:lvl1pPr marL="0" marR="0" indent="0" algn="l" defTabSz="966978" rtl="0" eaLnBrk="1" fontAlgn="auto" latinLnBrk="0" hangingPunct="1">
              <a:lnSpc>
                <a:spcPct val="100000"/>
              </a:lnSpc>
              <a:spcBef>
                <a:spcPct val="0"/>
              </a:spcBef>
              <a:spcAft>
                <a:spcPts val="0"/>
              </a:spcAft>
              <a:buClrTx/>
              <a:buSzTx/>
              <a:buFontTx/>
              <a:buNone/>
              <a:tabLst/>
              <a:defRPr sz="4800">
                <a:solidFill>
                  <a:schemeClr val="tx1"/>
                </a:solidFill>
              </a:defRPr>
            </a:lvl1pPr>
          </a:lstStyle>
          <a:p>
            <a:pPr lvl="0"/>
            <a:r>
              <a:rPr lang="en-US" dirty="0"/>
              <a:t>Slide Divider</a:t>
            </a:r>
            <a:br>
              <a:rPr lang="en-US" dirty="0"/>
            </a:br>
            <a:r>
              <a:rPr lang="en-US" dirty="0"/>
              <a:t>Arial Bold</a:t>
            </a:r>
            <a:br>
              <a:rPr lang="en-US" dirty="0"/>
            </a:br>
            <a:r>
              <a:rPr lang="en-US" dirty="0"/>
              <a:t>48/54/66 </a:t>
            </a:r>
            <a:r>
              <a:rPr lang="en-US" dirty="0" err="1"/>
              <a:t>pt</a:t>
            </a:r>
            <a:endParaRPr lang="en-US" dirty="0"/>
          </a:p>
        </p:txBody>
      </p:sp>
      <p:sp>
        <p:nvSpPr>
          <p:cNvPr id="6" name="Rectangle 5"/>
          <p:cNvSpPr/>
          <p:nvPr userDrawn="1"/>
        </p:nvSpPr>
        <p:spPr>
          <a:xfrm>
            <a:off x="0" y="-1"/>
            <a:ext cx="3787429" cy="6858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13" dirty="0">
              <a:solidFill>
                <a:schemeClr val="bg1"/>
              </a:solidFill>
            </a:endParaRPr>
          </a:p>
        </p:txBody>
      </p:sp>
      <p:cxnSp>
        <p:nvCxnSpPr>
          <p:cNvPr id="8" name="Straight Connector 7"/>
          <p:cNvCxnSpPr/>
          <p:nvPr userDrawn="1"/>
        </p:nvCxnSpPr>
        <p:spPr>
          <a:xfrm>
            <a:off x="4155440" y="2023110"/>
            <a:ext cx="70560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9537994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1 Column">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47902649"/>
              </p:ext>
            </p:extLst>
          </p:nvPr>
        </p:nvGraphicFramePr>
        <p:xfrm>
          <a:off x="1682" y="1680"/>
          <a:ext cx="1679" cy="167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kt 5" hidden="1"/>
                      <p:cNvPicPr/>
                      <p:nvPr/>
                    </p:nvPicPr>
                    <p:blipFill>
                      <a:blip r:embed="rId4"/>
                      <a:stretch>
                        <a:fillRect/>
                      </a:stretch>
                    </p:blipFill>
                    <p:spPr>
                      <a:xfrm>
                        <a:off x="1682" y="1680"/>
                        <a:ext cx="1679" cy="1678"/>
                      </a:xfrm>
                      <a:prstGeom prst="rect">
                        <a:avLst/>
                      </a:prstGeom>
                    </p:spPr>
                  </p:pic>
                </p:oleObj>
              </mc:Fallback>
            </mc:AlternateContent>
          </a:graphicData>
        </a:graphic>
      </p:graphicFrame>
      <p:pic>
        <p:nvPicPr>
          <p:cNvPr id="8" name="Grafik 7"/>
          <p:cNvPicPr>
            <a:picLocks noChangeAspect="1"/>
          </p:cNvPicPr>
          <p:nvPr userDrawn="1"/>
        </p:nvPicPr>
        <p:blipFill rotWithShape="1">
          <a:blip r:embed="rId5">
            <a:extLst>
              <a:ext uri="{28A0092B-C50C-407E-A947-70E740481C1C}">
                <a14:useLocalDpi xmlns:a14="http://schemas.microsoft.com/office/drawing/2010/main" val="0"/>
              </a:ext>
            </a:extLst>
          </a:blip>
          <a:srcRect l="1311" t="29160" r="2494" b="29294"/>
          <a:stretch/>
        </p:blipFill>
        <p:spPr>
          <a:xfrm>
            <a:off x="302367" y="6394337"/>
            <a:ext cx="879528" cy="268274"/>
          </a:xfrm>
          <a:prstGeom prst="rect">
            <a:avLst/>
          </a:prstGeom>
        </p:spPr>
      </p:pic>
      <p:sp>
        <p:nvSpPr>
          <p:cNvPr id="21" name="Inhaltsplatzhalter 19"/>
          <p:cNvSpPr>
            <a:spLocks noGrp="1"/>
          </p:cNvSpPr>
          <p:nvPr>
            <p:ph sz="quarter" idx="13" hasCustomPrompt="1"/>
          </p:nvPr>
        </p:nvSpPr>
        <p:spPr>
          <a:xfrm>
            <a:off x="304743" y="1602842"/>
            <a:ext cx="11592000" cy="4176000"/>
          </a:xfrm>
          <a:prstGeom prst="rect">
            <a:avLst/>
          </a:prstGeom>
        </p:spPr>
        <p:txBody>
          <a:bodyPr/>
          <a:lstStyle>
            <a:lvl1pPr rtl="0">
              <a:defRPr>
                <a:solidFill>
                  <a:schemeClr val="tx1"/>
                </a:solidFill>
              </a:defRPr>
            </a:lvl1pPr>
            <a:lvl2pPr marL="190350" indent="-190350" rtl="0">
              <a:buSzPct val="80000"/>
              <a:buFont typeface="Wingdings 2" panose="05020102010507070707" pitchFamily="18" charset="2"/>
              <a:buChar char=""/>
              <a:defRPr>
                <a:solidFill>
                  <a:schemeClr val="tx1"/>
                </a:solidFill>
              </a:defRPr>
            </a:lvl2pPr>
            <a:lvl3pPr marL="380700" indent="-190350" rtl="0">
              <a:buSzPct val="80000"/>
              <a:buFont typeface="Wingdings 2" panose="05020102010507070707" pitchFamily="18" charset="2"/>
              <a:buChar char=""/>
              <a:defRPr>
                <a:solidFill>
                  <a:schemeClr val="tx1"/>
                </a:solidFill>
              </a:defRPr>
            </a:lvl3pPr>
            <a:lvl4pPr marL="567428" indent="-186345" rtl="0">
              <a:buSzPct val="80000"/>
              <a:buFont typeface="Arial" panose="020B0604020202020204" pitchFamily="34" charset="0"/>
              <a:buChar char="–"/>
              <a:defRPr>
                <a:solidFill>
                  <a:schemeClr val="tx1"/>
                </a:solidFill>
              </a:defRPr>
            </a:lvl4pPr>
            <a:lvl5pPr marL="760488" indent="-193060" rtl="0">
              <a:buSzPct val="80000"/>
              <a:buFont typeface="Arial" panose="020B0604020202020204" pitchFamily="34" charset="0"/>
              <a:buChar char="○"/>
              <a:defRPr>
                <a:solidFill>
                  <a:schemeClr val="tx1"/>
                </a:solidFill>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itle 1"/>
          <p:cNvSpPr>
            <a:spLocks noGrp="1"/>
          </p:cNvSpPr>
          <p:nvPr>
            <p:ph type="title" hasCustomPrompt="1"/>
          </p:nvPr>
        </p:nvSpPr>
        <p:spPr>
          <a:xfrm>
            <a:off x="304747" y="540582"/>
            <a:ext cx="11592000" cy="684000"/>
          </a:xfrm>
          <a:prstGeom prst="rect">
            <a:avLst/>
          </a:prstGeom>
        </p:spPr>
        <p:txBody>
          <a:bodyPr vert="horz">
            <a:spAutoFit/>
          </a:bodyPr>
          <a:lstStyle>
            <a:lvl1pPr marL="0" marR="0" indent="0" algn="l" defTabSz="966978" rtl="0" eaLnBrk="1" fontAlgn="auto" latinLnBrk="0" hangingPunct="1">
              <a:lnSpc>
                <a:spcPct val="90000"/>
              </a:lnSpc>
              <a:spcBef>
                <a:spcPct val="0"/>
              </a:spcBef>
              <a:spcAft>
                <a:spcPts val="0"/>
              </a:spcAft>
              <a:buClrTx/>
              <a:buSzTx/>
              <a:buFontTx/>
              <a:buNone/>
              <a:tabLst/>
              <a:defRPr sz="2400">
                <a:solidFill>
                  <a:schemeClr val="tx1"/>
                </a:solidFill>
              </a:defRPr>
            </a:lvl1pPr>
          </a:lstStyle>
          <a:p>
            <a:pPr lvl="0"/>
            <a:r>
              <a:rPr lang="en-US" dirty="0"/>
              <a:t>Action Title</a:t>
            </a:r>
            <a:br>
              <a:rPr lang="en-US" dirty="0"/>
            </a:br>
            <a:r>
              <a:rPr lang="en-US" dirty="0"/>
              <a:t>Arial Bold, 24 </a:t>
            </a:r>
            <a:r>
              <a:rPr lang="en-US" dirty="0" err="1"/>
              <a:t>pt</a:t>
            </a:r>
            <a:endParaRPr lang="en-US" dirty="0"/>
          </a:p>
        </p:txBody>
      </p:sp>
      <p:sp>
        <p:nvSpPr>
          <p:cNvPr id="10" name="Headline_placeholder">
            <a:extLst>
              <a:ext uri="{FF2B5EF4-FFF2-40B4-BE49-F238E27FC236}">
                <a16:creationId xmlns:a16="http://schemas.microsoft.com/office/drawing/2014/main" id="{7524F5F5-8D43-4E81-8F6F-DB212CC956F5}"/>
              </a:ext>
            </a:extLst>
          </p:cNvPr>
          <p:cNvSpPr>
            <a:spLocks noGrp="1"/>
          </p:cNvSpPr>
          <p:nvPr>
            <p:ph type="body" sz="quarter" idx="14" hasCustomPrompt="1"/>
          </p:nvPr>
        </p:nvSpPr>
        <p:spPr>
          <a:xfrm>
            <a:off x="304747" y="188095"/>
            <a:ext cx="11592000" cy="180000"/>
          </a:xfrm>
          <a:prstGeom prst="rect">
            <a:avLst/>
          </a:prstGeom>
        </p:spPr>
        <p:txBody>
          <a:bodyPr>
            <a:spAutoFit/>
          </a:bodyPr>
          <a:lstStyle>
            <a:lvl1pPr>
              <a:defRPr sz="1100"/>
            </a:lvl1pPr>
          </a:lstStyle>
          <a:p>
            <a:pPr lvl="0"/>
            <a:r>
              <a:rPr lang="en-US" dirty="0"/>
              <a:t>Headline</a:t>
            </a:r>
          </a:p>
        </p:txBody>
      </p:sp>
      <p:sp>
        <p:nvSpPr>
          <p:cNvPr id="12" name="Source_placeholder">
            <a:extLst>
              <a:ext uri="{FF2B5EF4-FFF2-40B4-BE49-F238E27FC236}">
                <a16:creationId xmlns:a16="http://schemas.microsoft.com/office/drawing/2014/main" id="{3921EB26-A57B-4939-A3C7-62BD10D8DE9A}"/>
              </a:ext>
            </a:extLst>
          </p:cNvPr>
          <p:cNvSpPr>
            <a:spLocks noGrp="1"/>
          </p:cNvSpPr>
          <p:nvPr>
            <p:ph type="body" sz="quarter" idx="21" hasCustomPrompt="1"/>
          </p:nvPr>
        </p:nvSpPr>
        <p:spPr>
          <a:xfrm>
            <a:off x="304747" y="6032861"/>
            <a:ext cx="11592000" cy="144000"/>
          </a:xfrm>
          <a:prstGeom prst="rect">
            <a:avLst/>
          </a:prstGeom>
        </p:spPr>
        <p:txBody>
          <a:bodyPr>
            <a:spAutoFit/>
          </a:bodyPr>
          <a:lstStyle>
            <a:lvl1pPr>
              <a:defRPr sz="900" i="1"/>
            </a:lvl1pPr>
          </a:lstStyle>
          <a:p>
            <a:pPr marL="0" marR="0" lvl="0" indent="0" algn="l" defTabSz="483489" rtl="0" eaLnBrk="1" fontAlgn="auto" latinLnBrk="0" hangingPunct="1">
              <a:lnSpc>
                <a:spcPct val="100000"/>
              </a:lnSpc>
              <a:spcBef>
                <a:spcPts val="0"/>
              </a:spcBef>
              <a:spcAft>
                <a:spcPts val="300"/>
              </a:spcAft>
              <a:buClrTx/>
              <a:buSzTx/>
              <a:buFont typeface="Arial" panose="020B0604020202020204" pitchFamily="34" charset="0"/>
              <a:buNone/>
              <a:tabLst/>
              <a:defRPr/>
            </a:pPr>
            <a:r>
              <a:rPr lang="en-US" dirty="0"/>
              <a:t>Source: Arial italic plain, 9 </a:t>
            </a:r>
            <a:r>
              <a:rPr lang="en-US" dirty="0" err="1"/>
              <a:t>pt</a:t>
            </a:r>
            <a:endParaRPr lang="en-US" dirty="0"/>
          </a:p>
        </p:txBody>
      </p:sp>
    </p:spTree>
    <p:extLst>
      <p:ext uri="{BB962C8B-B14F-4D97-AF65-F5344CB8AC3E}">
        <p14:creationId xmlns:p14="http://schemas.microsoft.com/office/powerpoint/2010/main" val="320133815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 2 Column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5382827"/>
              </p:ext>
            </p:extLst>
          </p:nvPr>
        </p:nvGraphicFramePr>
        <p:xfrm>
          <a:off x="1680" y="1681"/>
          <a:ext cx="1680" cy="1679"/>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Object 1" hidden="1"/>
                      <p:cNvPicPr/>
                      <p:nvPr/>
                    </p:nvPicPr>
                    <p:blipFill>
                      <a:blip r:embed="rId4"/>
                      <a:stretch>
                        <a:fillRect/>
                      </a:stretch>
                    </p:blipFill>
                    <p:spPr>
                      <a:xfrm>
                        <a:off x="1680" y="1681"/>
                        <a:ext cx="1680" cy="1679"/>
                      </a:xfrm>
                      <a:prstGeom prst="rect">
                        <a:avLst/>
                      </a:prstGeom>
                    </p:spPr>
                  </p:pic>
                </p:oleObj>
              </mc:Fallback>
            </mc:AlternateContent>
          </a:graphicData>
        </a:graphic>
      </p:graphicFrame>
      <p:pic>
        <p:nvPicPr>
          <p:cNvPr id="8" name="Grafik 7"/>
          <p:cNvPicPr>
            <a:picLocks noChangeAspect="1"/>
          </p:cNvPicPr>
          <p:nvPr userDrawn="1"/>
        </p:nvPicPr>
        <p:blipFill rotWithShape="1">
          <a:blip r:embed="rId5">
            <a:extLst>
              <a:ext uri="{28A0092B-C50C-407E-A947-70E740481C1C}">
                <a14:useLocalDpi xmlns:a14="http://schemas.microsoft.com/office/drawing/2010/main" val="0"/>
              </a:ext>
            </a:extLst>
          </a:blip>
          <a:srcRect l="1311" t="29160" r="2494" b="29294"/>
          <a:stretch/>
        </p:blipFill>
        <p:spPr>
          <a:xfrm>
            <a:off x="302367" y="6394337"/>
            <a:ext cx="879528" cy="268274"/>
          </a:xfrm>
          <a:prstGeom prst="rect">
            <a:avLst/>
          </a:prstGeom>
        </p:spPr>
      </p:pic>
      <p:sp>
        <p:nvSpPr>
          <p:cNvPr id="14" name="Inhaltsplatzhalter 19"/>
          <p:cNvSpPr>
            <a:spLocks noGrp="1"/>
          </p:cNvSpPr>
          <p:nvPr>
            <p:ph sz="quarter" idx="15" hasCustomPrompt="1"/>
          </p:nvPr>
        </p:nvSpPr>
        <p:spPr>
          <a:xfrm>
            <a:off x="304744" y="1602842"/>
            <a:ext cx="5652000" cy="4176000"/>
          </a:xfrm>
          <a:prstGeom prst="rect">
            <a:avLst/>
          </a:prstGeom>
        </p:spPr>
        <p:txBody>
          <a:bodyPr/>
          <a:lstStyle>
            <a:lvl1pPr rtl="0">
              <a:defRPr>
                <a:solidFill>
                  <a:schemeClr val="tx1"/>
                </a:solidFill>
              </a:defRPr>
            </a:lvl1pPr>
            <a:lvl2pPr marL="190350" indent="-190350" rtl="0">
              <a:buSzPct val="80000"/>
              <a:buFont typeface="Wingdings 2" panose="05020102010507070707" pitchFamily="18" charset="2"/>
              <a:buChar char=""/>
              <a:defRPr>
                <a:solidFill>
                  <a:schemeClr val="tx1"/>
                </a:solidFill>
              </a:defRPr>
            </a:lvl2pPr>
            <a:lvl3pPr marL="380700" indent="-190350" rtl="0">
              <a:buSzPct val="80000"/>
              <a:buFont typeface="Wingdings 2" panose="05020102010507070707" pitchFamily="18" charset="2"/>
              <a:buChar char=""/>
              <a:defRPr>
                <a:solidFill>
                  <a:schemeClr val="tx1"/>
                </a:solidFill>
              </a:defRPr>
            </a:lvl3pPr>
            <a:lvl4pPr marL="567428" indent="-186345" rtl="0">
              <a:buSzPct val="80000"/>
              <a:buFont typeface="Arial" panose="020B0604020202020204" pitchFamily="34" charset="0"/>
              <a:buChar char="–"/>
              <a:defRPr>
                <a:solidFill>
                  <a:schemeClr val="tx1"/>
                </a:solidFill>
              </a:defRPr>
            </a:lvl4pPr>
            <a:lvl5pPr marL="760488" indent="-193060" rtl="0">
              <a:buSzPct val="80000"/>
              <a:buFont typeface="Arial" panose="020B0604020202020204" pitchFamily="34" charset="0"/>
              <a:buChar char="○"/>
              <a:defRPr>
                <a:solidFill>
                  <a:schemeClr val="tx1"/>
                </a:solidFill>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Inhaltsplatzhalter 19"/>
          <p:cNvSpPr>
            <a:spLocks noGrp="1"/>
          </p:cNvSpPr>
          <p:nvPr>
            <p:ph sz="quarter" idx="16" hasCustomPrompt="1"/>
          </p:nvPr>
        </p:nvSpPr>
        <p:spPr>
          <a:xfrm>
            <a:off x="6244747" y="1602842"/>
            <a:ext cx="5652000" cy="4176000"/>
          </a:xfrm>
          <a:prstGeom prst="rect">
            <a:avLst/>
          </a:prstGeom>
        </p:spPr>
        <p:txBody>
          <a:bodyPr/>
          <a:lstStyle>
            <a:lvl1pPr rtl="0">
              <a:defRPr>
                <a:solidFill>
                  <a:schemeClr val="tx1"/>
                </a:solidFill>
              </a:defRPr>
            </a:lvl1pPr>
            <a:lvl2pPr marL="190350" indent="-190350" rtl="0">
              <a:buSzPct val="80000"/>
              <a:buFont typeface="Wingdings 2" panose="05020102010507070707" pitchFamily="18" charset="2"/>
              <a:buChar char=""/>
              <a:defRPr>
                <a:solidFill>
                  <a:schemeClr val="tx1"/>
                </a:solidFill>
              </a:defRPr>
            </a:lvl2pPr>
            <a:lvl3pPr marL="380700" indent="-190350" rtl="0">
              <a:buSzPct val="80000"/>
              <a:buFont typeface="Wingdings 2" panose="05020102010507070707" pitchFamily="18" charset="2"/>
              <a:buChar char=""/>
              <a:defRPr>
                <a:solidFill>
                  <a:schemeClr val="tx1"/>
                </a:solidFill>
              </a:defRPr>
            </a:lvl3pPr>
            <a:lvl4pPr marL="567428" indent="-186345" rtl="0">
              <a:buSzPct val="80000"/>
              <a:buFont typeface="Arial" panose="020B0604020202020204" pitchFamily="34" charset="0"/>
              <a:buChar char="–"/>
              <a:defRPr>
                <a:solidFill>
                  <a:schemeClr val="tx1"/>
                </a:solidFill>
              </a:defRPr>
            </a:lvl4pPr>
            <a:lvl5pPr marL="760488" indent="-193060" rtl="0">
              <a:buSzPct val="80000"/>
              <a:buFont typeface="Arial" panose="020B0604020202020204" pitchFamily="34" charset="0"/>
              <a:buChar char="○"/>
              <a:defRPr>
                <a:solidFill>
                  <a:schemeClr val="tx1"/>
                </a:solidFill>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1"/>
          <p:cNvSpPr>
            <a:spLocks noGrp="1"/>
          </p:cNvSpPr>
          <p:nvPr>
            <p:ph type="title" hasCustomPrompt="1"/>
          </p:nvPr>
        </p:nvSpPr>
        <p:spPr>
          <a:xfrm>
            <a:off x="304747" y="540582"/>
            <a:ext cx="11592000" cy="684000"/>
          </a:xfrm>
          <a:prstGeom prst="rect">
            <a:avLst/>
          </a:prstGeom>
        </p:spPr>
        <p:txBody>
          <a:bodyPr vert="horz">
            <a:spAutoFit/>
          </a:bodyPr>
          <a:lstStyle>
            <a:lvl1pPr marL="0" marR="0" indent="0" algn="l" defTabSz="966978" rtl="0" eaLnBrk="1" fontAlgn="auto" latinLnBrk="0" hangingPunct="1">
              <a:lnSpc>
                <a:spcPct val="90000"/>
              </a:lnSpc>
              <a:spcBef>
                <a:spcPct val="0"/>
              </a:spcBef>
              <a:spcAft>
                <a:spcPts val="0"/>
              </a:spcAft>
              <a:buClrTx/>
              <a:buSzTx/>
              <a:buFontTx/>
              <a:buNone/>
              <a:tabLst/>
              <a:defRPr sz="2400">
                <a:solidFill>
                  <a:schemeClr val="tx1"/>
                </a:solidFill>
              </a:defRPr>
            </a:lvl1pPr>
          </a:lstStyle>
          <a:p>
            <a:pPr lvl="0"/>
            <a:r>
              <a:rPr lang="en-US" dirty="0"/>
              <a:t>Action Title</a:t>
            </a:r>
            <a:br>
              <a:rPr lang="en-US" dirty="0"/>
            </a:br>
            <a:r>
              <a:rPr lang="en-US" dirty="0"/>
              <a:t>Arial Bold, 24 </a:t>
            </a:r>
            <a:r>
              <a:rPr lang="en-US" dirty="0" err="1"/>
              <a:t>pt</a:t>
            </a:r>
            <a:endParaRPr lang="en-US" dirty="0"/>
          </a:p>
        </p:txBody>
      </p:sp>
      <p:sp>
        <p:nvSpPr>
          <p:cNvPr id="10" name="Headline_placeholder">
            <a:extLst>
              <a:ext uri="{FF2B5EF4-FFF2-40B4-BE49-F238E27FC236}">
                <a16:creationId xmlns:a16="http://schemas.microsoft.com/office/drawing/2014/main" id="{B6E214DD-D59A-4924-A91F-A15FBE127911}"/>
              </a:ext>
            </a:extLst>
          </p:cNvPr>
          <p:cNvSpPr>
            <a:spLocks noGrp="1"/>
          </p:cNvSpPr>
          <p:nvPr>
            <p:ph type="body" sz="quarter" idx="14" hasCustomPrompt="1"/>
          </p:nvPr>
        </p:nvSpPr>
        <p:spPr>
          <a:xfrm>
            <a:off x="304747" y="188096"/>
            <a:ext cx="11592000" cy="180000"/>
          </a:xfrm>
          <a:prstGeom prst="rect">
            <a:avLst/>
          </a:prstGeom>
        </p:spPr>
        <p:txBody>
          <a:bodyPr>
            <a:spAutoFit/>
          </a:bodyPr>
          <a:lstStyle>
            <a:lvl1pPr>
              <a:defRPr sz="1100"/>
            </a:lvl1pPr>
          </a:lstStyle>
          <a:p>
            <a:pPr lvl="0"/>
            <a:r>
              <a:rPr lang="en-US" dirty="0"/>
              <a:t>Headline</a:t>
            </a:r>
          </a:p>
        </p:txBody>
      </p:sp>
      <p:sp>
        <p:nvSpPr>
          <p:cNvPr id="13" name="Source_placeholder">
            <a:extLst>
              <a:ext uri="{FF2B5EF4-FFF2-40B4-BE49-F238E27FC236}">
                <a16:creationId xmlns:a16="http://schemas.microsoft.com/office/drawing/2014/main" id="{7A217C90-C10F-4332-9899-43798F1C2FAD}"/>
              </a:ext>
            </a:extLst>
          </p:cNvPr>
          <p:cNvSpPr>
            <a:spLocks noGrp="1"/>
          </p:cNvSpPr>
          <p:nvPr>
            <p:ph type="body" sz="quarter" idx="21" hasCustomPrompt="1"/>
          </p:nvPr>
        </p:nvSpPr>
        <p:spPr>
          <a:xfrm>
            <a:off x="304747" y="6032862"/>
            <a:ext cx="11592000" cy="144000"/>
          </a:xfrm>
          <a:prstGeom prst="rect">
            <a:avLst/>
          </a:prstGeom>
        </p:spPr>
        <p:txBody>
          <a:bodyPr>
            <a:spAutoFit/>
          </a:bodyPr>
          <a:lstStyle>
            <a:lvl1pPr>
              <a:defRPr sz="900" i="1"/>
            </a:lvl1pPr>
          </a:lstStyle>
          <a:p>
            <a:pPr marL="0" marR="0" lvl="0" indent="0" algn="l" defTabSz="483489" rtl="0" eaLnBrk="1" fontAlgn="auto" latinLnBrk="0" hangingPunct="1">
              <a:lnSpc>
                <a:spcPct val="100000"/>
              </a:lnSpc>
              <a:spcBef>
                <a:spcPts val="0"/>
              </a:spcBef>
              <a:spcAft>
                <a:spcPts val="300"/>
              </a:spcAft>
              <a:buClrTx/>
              <a:buSzTx/>
              <a:buFont typeface="Arial" panose="020B0604020202020204" pitchFamily="34" charset="0"/>
              <a:buNone/>
              <a:tabLst/>
              <a:defRPr/>
            </a:pPr>
            <a:r>
              <a:rPr lang="en-US" dirty="0"/>
              <a:t>Source: Arial italic plain, 9 </a:t>
            </a:r>
            <a:r>
              <a:rPr lang="en-US" dirty="0" err="1"/>
              <a:t>pt</a:t>
            </a:r>
            <a:endParaRPr lang="en-US" dirty="0"/>
          </a:p>
        </p:txBody>
      </p:sp>
    </p:spTree>
    <p:extLst>
      <p:ext uri="{BB962C8B-B14F-4D97-AF65-F5344CB8AC3E}">
        <p14:creationId xmlns:p14="http://schemas.microsoft.com/office/powerpoint/2010/main" val="297515999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3 Column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63576264"/>
              </p:ext>
            </p:extLst>
          </p:nvPr>
        </p:nvGraphicFramePr>
        <p:xfrm>
          <a:off x="1680" y="1681"/>
          <a:ext cx="1680" cy="1679"/>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Object 1" hidden="1"/>
                      <p:cNvPicPr/>
                      <p:nvPr/>
                    </p:nvPicPr>
                    <p:blipFill>
                      <a:blip r:embed="rId4"/>
                      <a:stretch>
                        <a:fillRect/>
                      </a:stretch>
                    </p:blipFill>
                    <p:spPr>
                      <a:xfrm>
                        <a:off x="1680" y="1681"/>
                        <a:ext cx="1680" cy="1679"/>
                      </a:xfrm>
                      <a:prstGeom prst="rect">
                        <a:avLst/>
                      </a:prstGeom>
                    </p:spPr>
                  </p:pic>
                </p:oleObj>
              </mc:Fallback>
            </mc:AlternateContent>
          </a:graphicData>
        </a:graphic>
      </p:graphicFrame>
      <p:pic>
        <p:nvPicPr>
          <p:cNvPr id="11" name="Grafik 10"/>
          <p:cNvPicPr>
            <a:picLocks noChangeAspect="1"/>
          </p:cNvPicPr>
          <p:nvPr userDrawn="1"/>
        </p:nvPicPr>
        <p:blipFill rotWithShape="1">
          <a:blip r:embed="rId5">
            <a:extLst>
              <a:ext uri="{28A0092B-C50C-407E-A947-70E740481C1C}">
                <a14:useLocalDpi xmlns:a14="http://schemas.microsoft.com/office/drawing/2010/main" val="0"/>
              </a:ext>
            </a:extLst>
          </a:blip>
          <a:srcRect l="1311" t="29160" r="2494" b="29294"/>
          <a:stretch/>
        </p:blipFill>
        <p:spPr>
          <a:xfrm>
            <a:off x="302367" y="6394337"/>
            <a:ext cx="879528" cy="268274"/>
          </a:xfrm>
          <a:prstGeom prst="rect">
            <a:avLst/>
          </a:prstGeom>
        </p:spPr>
      </p:pic>
      <p:sp>
        <p:nvSpPr>
          <p:cNvPr id="16" name="Inhaltsplatzhalter 19"/>
          <p:cNvSpPr>
            <a:spLocks noGrp="1"/>
          </p:cNvSpPr>
          <p:nvPr>
            <p:ph sz="quarter" idx="15" hasCustomPrompt="1"/>
          </p:nvPr>
        </p:nvSpPr>
        <p:spPr>
          <a:xfrm>
            <a:off x="304744" y="1602842"/>
            <a:ext cx="3672000" cy="4176000"/>
          </a:xfrm>
          <a:prstGeom prst="rect">
            <a:avLst/>
          </a:prstGeom>
        </p:spPr>
        <p:txBody>
          <a:bodyPr/>
          <a:lstStyle>
            <a:lvl1pPr rtl="0">
              <a:defRPr>
                <a:solidFill>
                  <a:schemeClr val="tx1"/>
                </a:solidFill>
              </a:defRPr>
            </a:lvl1pPr>
            <a:lvl2pPr marL="190350" indent="-190350" rtl="0">
              <a:buSzPct val="80000"/>
              <a:buFont typeface="Wingdings 2" panose="05020102010507070707" pitchFamily="18" charset="2"/>
              <a:buChar char=""/>
              <a:defRPr>
                <a:solidFill>
                  <a:schemeClr val="tx1"/>
                </a:solidFill>
              </a:defRPr>
            </a:lvl2pPr>
            <a:lvl3pPr marL="380700" indent="-190350" rtl="0">
              <a:buSzPct val="80000"/>
              <a:buFont typeface="Wingdings 2" panose="05020102010507070707" pitchFamily="18" charset="2"/>
              <a:buChar char=""/>
              <a:defRPr>
                <a:solidFill>
                  <a:schemeClr val="tx1"/>
                </a:solidFill>
              </a:defRPr>
            </a:lvl3pPr>
            <a:lvl4pPr marL="567428" indent="-186345" rtl="0">
              <a:buSzPct val="80000"/>
              <a:buFont typeface="Arial" panose="020B0604020202020204" pitchFamily="34" charset="0"/>
              <a:buChar char="–"/>
              <a:defRPr>
                <a:solidFill>
                  <a:schemeClr val="tx1"/>
                </a:solidFill>
              </a:defRPr>
            </a:lvl4pPr>
            <a:lvl5pPr marL="760488" indent="-193060" rtl="0">
              <a:buSzPct val="80000"/>
              <a:buFont typeface="Arial" panose="020B0604020202020204" pitchFamily="34" charset="0"/>
              <a:buChar char="○"/>
              <a:defRPr>
                <a:solidFill>
                  <a:schemeClr val="tx1"/>
                </a:solidFill>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Inhaltsplatzhalter 19"/>
          <p:cNvSpPr>
            <a:spLocks noGrp="1"/>
          </p:cNvSpPr>
          <p:nvPr>
            <p:ph sz="quarter" idx="17" hasCustomPrompt="1"/>
          </p:nvPr>
        </p:nvSpPr>
        <p:spPr>
          <a:xfrm>
            <a:off x="4264746" y="1602842"/>
            <a:ext cx="3672000" cy="4176000"/>
          </a:xfrm>
          <a:prstGeom prst="rect">
            <a:avLst/>
          </a:prstGeom>
        </p:spPr>
        <p:txBody>
          <a:bodyPr/>
          <a:lstStyle>
            <a:lvl1pPr rtl="0">
              <a:defRPr>
                <a:solidFill>
                  <a:schemeClr val="tx1"/>
                </a:solidFill>
              </a:defRPr>
            </a:lvl1pPr>
            <a:lvl2pPr marL="190350" indent="-190350" rtl="0">
              <a:buSzPct val="80000"/>
              <a:buFont typeface="Wingdings 2" panose="05020102010507070707" pitchFamily="18" charset="2"/>
              <a:buChar char=""/>
              <a:defRPr>
                <a:solidFill>
                  <a:schemeClr val="tx1"/>
                </a:solidFill>
              </a:defRPr>
            </a:lvl2pPr>
            <a:lvl3pPr marL="380700" indent="-190350" rtl="0">
              <a:buSzPct val="80000"/>
              <a:buFont typeface="Wingdings 2" panose="05020102010507070707" pitchFamily="18" charset="2"/>
              <a:buChar char=""/>
              <a:defRPr>
                <a:solidFill>
                  <a:schemeClr val="tx1"/>
                </a:solidFill>
              </a:defRPr>
            </a:lvl3pPr>
            <a:lvl4pPr marL="567428" indent="-186345" rtl="0">
              <a:buSzPct val="80000"/>
              <a:buFont typeface="Arial" panose="020B0604020202020204" pitchFamily="34" charset="0"/>
              <a:buChar char="–"/>
              <a:defRPr>
                <a:solidFill>
                  <a:schemeClr val="tx1"/>
                </a:solidFill>
              </a:defRPr>
            </a:lvl4pPr>
            <a:lvl5pPr marL="760488" indent="-193060" rtl="0">
              <a:buSzPct val="80000"/>
              <a:buFont typeface="Arial" panose="020B0604020202020204" pitchFamily="34" charset="0"/>
              <a:buChar char="○"/>
              <a:defRPr>
                <a:solidFill>
                  <a:schemeClr val="tx1"/>
                </a:solidFill>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Inhaltsplatzhalter 19"/>
          <p:cNvSpPr>
            <a:spLocks noGrp="1"/>
          </p:cNvSpPr>
          <p:nvPr>
            <p:ph sz="quarter" idx="18" hasCustomPrompt="1"/>
          </p:nvPr>
        </p:nvSpPr>
        <p:spPr>
          <a:xfrm>
            <a:off x="8224747" y="1602842"/>
            <a:ext cx="3672000" cy="4176000"/>
          </a:xfrm>
          <a:prstGeom prst="rect">
            <a:avLst/>
          </a:prstGeom>
        </p:spPr>
        <p:txBody>
          <a:bodyPr/>
          <a:lstStyle>
            <a:lvl1pPr rtl="0">
              <a:defRPr>
                <a:solidFill>
                  <a:schemeClr val="tx1"/>
                </a:solidFill>
              </a:defRPr>
            </a:lvl1pPr>
            <a:lvl2pPr marL="190350" indent="-190350" rtl="0">
              <a:buSzPct val="80000"/>
              <a:buFont typeface="Wingdings 2" panose="05020102010507070707" pitchFamily="18" charset="2"/>
              <a:buChar char=""/>
              <a:defRPr>
                <a:solidFill>
                  <a:schemeClr val="tx1"/>
                </a:solidFill>
              </a:defRPr>
            </a:lvl2pPr>
            <a:lvl3pPr marL="380700" indent="-190350" rtl="0">
              <a:buSzPct val="80000"/>
              <a:buFont typeface="Wingdings 2" panose="05020102010507070707" pitchFamily="18" charset="2"/>
              <a:buChar char=""/>
              <a:defRPr>
                <a:solidFill>
                  <a:schemeClr val="tx1"/>
                </a:solidFill>
              </a:defRPr>
            </a:lvl3pPr>
            <a:lvl4pPr marL="567428" indent="-186345" rtl="0">
              <a:buSzPct val="80000"/>
              <a:buFont typeface="Arial" panose="020B0604020202020204" pitchFamily="34" charset="0"/>
              <a:buChar char="–"/>
              <a:defRPr>
                <a:solidFill>
                  <a:schemeClr val="tx1"/>
                </a:solidFill>
              </a:defRPr>
            </a:lvl4pPr>
            <a:lvl5pPr marL="760488" indent="-193060" rtl="0">
              <a:buSzPct val="80000"/>
              <a:buFont typeface="Arial" panose="020B0604020202020204" pitchFamily="34" charset="0"/>
              <a:buChar char="○"/>
              <a:defRPr>
                <a:solidFill>
                  <a:schemeClr val="tx1"/>
                </a:solidFill>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
          <p:cNvSpPr>
            <a:spLocks noGrp="1"/>
          </p:cNvSpPr>
          <p:nvPr>
            <p:ph type="title" hasCustomPrompt="1"/>
          </p:nvPr>
        </p:nvSpPr>
        <p:spPr>
          <a:xfrm>
            <a:off x="304747" y="540582"/>
            <a:ext cx="11592000" cy="684000"/>
          </a:xfrm>
          <a:prstGeom prst="rect">
            <a:avLst/>
          </a:prstGeom>
        </p:spPr>
        <p:txBody>
          <a:bodyPr vert="horz">
            <a:spAutoFit/>
          </a:bodyPr>
          <a:lstStyle>
            <a:lvl1pPr marL="0" marR="0" indent="0" algn="l" defTabSz="966978" rtl="0" eaLnBrk="1" fontAlgn="auto" latinLnBrk="0" hangingPunct="1">
              <a:lnSpc>
                <a:spcPct val="90000"/>
              </a:lnSpc>
              <a:spcBef>
                <a:spcPct val="0"/>
              </a:spcBef>
              <a:spcAft>
                <a:spcPts val="0"/>
              </a:spcAft>
              <a:buClrTx/>
              <a:buSzTx/>
              <a:buFontTx/>
              <a:buNone/>
              <a:tabLst/>
              <a:defRPr sz="2400">
                <a:solidFill>
                  <a:schemeClr val="tx1"/>
                </a:solidFill>
              </a:defRPr>
            </a:lvl1pPr>
          </a:lstStyle>
          <a:p>
            <a:pPr lvl="0"/>
            <a:r>
              <a:rPr lang="en-US" dirty="0"/>
              <a:t>Action Title</a:t>
            </a:r>
            <a:br>
              <a:rPr lang="en-US" dirty="0"/>
            </a:br>
            <a:r>
              <a:rPr lang="en-US" dirty="0"/>
              <a:t>Arial Bold, 24 </a:t>
            </a:r>
            <a:r>
              <a:rPr lang="en-US" dirty="0" err="1"/>
              <a:t>pt</a:t>
            </a:r>
            <a:endParaRPr lang="en-US" dirty="0"/>
          </a:p>
        </p:txBody>
      </p:sp>
      <p:sp>
        <p:nvSpPr>
          <p:cNvPr id="10" name="Headline_placeholder">
            <a:extLst>
              <a:ext uri="{FF2B5EF4-FFF2-40B4-BE49-F238E27FC236}">
                <a16:creationId xmlns:a16="http://schemas.microsoft.com/office/drawing/2014/main" id="{D5CDA3E9-FE33-43BD-91F3-61BB3E8611D0}"/>
              </a:ext>
            </a:extLst>
          </p:cNvPr>
          <p:cNvSpPr>
            <a:spLocks noGrp="1"/>
          </p:cNvSpPr>
          <p:nvPr>
            <p:ph type="body" sz="quarter" idx="14" hasCustomPrompt="1"/>
          </p:nvPr>
        </p:nvSpPr>
        <p:spPr>
          <a:xfrm>
            <a:off x="304747" y="188095"/>
            <a:ext cx="11592000" cy="180000"/>
          </a:xfrm>
          <a:prstGeom prst="rect">
            <a:avLst/>
          </a:prstGeom>
        </p:spPr>
        <p:txBody>
          <a:bodyPr>
            <a:spAutoFit/>
          </a:bodyPr>
          <a:lstStyle>
            <a:lvl1pPr>
              <a:defRPr sz="1100"/>
            </a:lvl1pPr>
          </a:lstStyle>
          <a:p>
            <a:pPr lvl="0"/>
            <a:r>
              <a:rPr lang="en-US" dirty="0"/>
              <a:t>Headline</a:t>
            </a:r>
          </a:p>
        </p:txBody>
      </p:sp>
      <p:sp>
        <p:nvSpPr>
          <p:cNvPr id="15" name="Source_placeholder">
            <a:extLst>
              <a:ext uri="{FF2B5EF4-FFF2-40B4-BE49-F238E27FC236}">
                <a16:creationId xmlns:a16="http://schemas.microsoft.com/office/drawing/2014/main" id="{63C1A869-45E4-4F9B-9C34-AC2F1BD73D77}"/>
              </a:ext>
            </a:extLst>
          </p:cNvPr>
          <p:cNvSpPr>
            <a:spLocks noGrp="1"/>
          </p:cNvSpPr>
          <p:nvPr>
            <p:ph type="body" sz="quarter" idx="21" hasCustomPrompt="1"/>
          </p:nvPr>
        </p:nvSpPr>
        <p:spPr>
          <a:xfrm>
            <a:off x="304747" y="6032861"/>
            <a:ext cx="11592000" cy="144000"/>
          </a:xfrm>
          <a:prstGeom prst="rect">
            <a:avLst/>
          </a:prstGeom>
        </p:spPr>
        <p:txBody>
          <a:bodyPr>
            <a:spAutoFit/>
          </a:bodyPr>
          <a:lstStyle>
            <a:lvl1pPr>
              <a:defRPr sz="900" i="1"/>
            </a:lvl1pPr>
          </a:lstStyle>
          <a:p>
            <a:pPr marL="0" marR="0" lvl="0" indent="0" algn="l" defTabSz="483489" rtl="0" eaLnBrk="1" fontAlgn="auto" latinLnBrk="0" hangingPunct="1">
              <a:lnSpc>
                <a:spcPct val="100000"/>
              </a:lnSpc>
              <a:spcBef>
                <a:spcPts val="0"/>
              </a:spcBef>
              <a:spcAft>
                <a:spcPts val="300"/>
              </a:spcAft>
              <a:buClrTx/>
              <a:buSzTx/>
              <a:buFont typeface="Arial" panose="020B0604020202020204" pitchFamily="34" charset="0"/>
              <a:buNone/>
              <a:tabLst/>
              <a:defRPr/>
            </a:pPr>
            <a:r>
              <a:rPr lang="en-US" dirty="0"/>
              <a:t>Source: Arial italic plain, 9 </a:t>
            </a:r>
            <a:r>
              <a:rPr lang="en-US" dirty="0" err="1"/>
              <a:t>pt</a:t>
            </a:r>
            <a:endParaRPr lang="en-US" dirty="0"/>
          </a:p>
        </p:txBody>
      </p:sp>
    </p:spTree>
    <p:extLst>
      <p:ext uri="{BB962C8B-B14F-4D97-AF65-F5344CB8AC3E}">
        <p14:creationId xmlns:p14="http://schemas.microsoft.com/office/powerpoint/2010/main" val="133659725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4 Column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134134190"/>
              </p:ext>
            </p:extLst>
          </p:nvPr>
        </p:nvGraphicFramePr>
        <p:xfrm>
          <a:off x="1680" y="1681"/>
          <a:ext cx="1680" cy="1679"/>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Object 1" hidden="1"/>
                      <p:cNvPicPr/>
                      <p:nvPr/>
                    </p:nvPicPr>
                    <p:blipFill>
                      <a:blip r:embed="rId4"/>
                      <a:stretch>
                        <a:fillRect/>
                      </a:stretch>
                    </p:blipFill>
                    <p:spPr>
                      <a:xfrm>
                        <a:off x="1680" y="1681"/>
                        <a:ext cx="1680" cy="1679"/>
                      </a:xfrm>
                      <a:prstGeom prst="rect">
                        <a:avLst/>
                      </a:prstGeom>
                    </p:spPr>
                  </p:pic>
                </p:oleObj>
              </mc:Fallback>
            </mc:AlternateContent>
          </a:graphicData>
        </a:graphic>
      </p:graphicFrame>
      <p:pic>
        <p:nvPicPr>
          <p:cNvPr id="12" name="Grafik 11"/>
          <p:cNvPicPr>
            <a:picLocks noChangeAspect="1"/>
          </p:cNvPicPr>
          <p:nvPr userDrawn="1"/>
        </p:nvPicPr>
        <p:blipFill rotWithShape="1">
          <a:blip r:embed="rId5">
            <a:extLst>
              <a:ext uri="{28A0092B-C50C-407E-A947-70E740481C1C}">
                <a14:useLocalDpi xmlns:a14="http://schemas.microsoft.com/office/drawing/2010/main" val="0"/>
              </a:ext>
            </a:extLst>
          </a:blip>
          <a:srcRect l="1311" t="29160" r="2494" b="29294"/>
          <a:stretch/>
        </p:blipFill>
        <p:spPr>
          <a:xfrm>
            <a:off x="302367" y="6394337"/>
            <a:ext cx="879528" cy="268274"/>
          </a:xfrm>
          <a:prstGeom prst="rect">
            <a:avLst/>
          </a:prstGeom>
        </p:spPr>
      </p:pic>
      <p:sp>
        <p:nvSpPr>
          <p:cNvPr id="17" name="Inhaltsplatzhalter 19"/>
          <p:cNvSpPr>
            <a:spLocks noGrp="1"/>
          </p:cNvSpPr>
          <p:nvPr>
            <p:ph sz="quarter" idx="17" hasCustomPrompt="1"/>
          </p:nvPr>
        </p:nvSpPr>
        <p:spPr>
          <a:xfrm>
            <a:off x="304744" y="1602842"/>
            <a:ext cx="2664000" cy="4176000"/>
          </a:xfrm>
          <a:prstGeom prst="rect">
            <a:avLst/>
          </a:prstGeom>
        </p:spPr>
        <p:txBody>
          <a:bodyPr/>
          <a:lstStyle>
            <a:lvl1pPr rtl="0">
              <a:defRPr>
                <a:solidFill>
                  <a:schemeClr val="tx1"/>
                </a:solidFill>
              </a:defRPr>
            </a:lvl1pPr>
            <a:lvl2pPr marL="190350" indent="-190350" rtl="0">
              <a:buSzPct val="80000"/>
              <a:buFont typeface="Wingdings 2" panose="05020102010507070707" pitchFamily="18" charset="2"/>
              <a:buChar char=""/>
              <a:defRPr>
                <a:solidFill>
                  <a:schemeClr val="tx1"/>
                </a:solidFill>
              </a:defRPr>
            </a:lvl2pPr>
            <a:lvl3pPr marL="380700" indent="-190350" rtl="0">
              <a:buSzPct val="80000"/>
              <a:buFont typeface="Wingdings 2" panose="05020102010507070707" pitchFamily="18" charset="2"/>
              <a:buChar char=""/>
              <a:defRPr>
                <a:solidFill>
                  <a:schemeClr val="tx1"/>
                </a:solidFill>
              </a:defRPr>
            </a:lvl3pPr>
            <a:lvl4pPr marL="567428" indent="-186345" rtl="0">
              <a:buSzPct val="80000"/>
              <a:buFont typeface="Arial" panose="020B0604020202020204" pitchFamily="34" charset="0"/>
              <a:buChar char="–"/>
              <a:defRPr>
                <a:solidFill>
                  <a:schemeClr val="tx1"/>
                </a:solidFill>
              </a:defRPr>
            </a:lvl4pPr>
            <a:lvl5pPr marL="760488" indent="-193060" rtl="0">
              <a:buSzPct val="80000"/>
              <a:buFont typeface="Arial" panose="020B0604020202020204" pitchFamily="34" charset="0"/>
              <a:buChar char="○"/>
              <a:defRPr>
                <a:solidFill>
                  <a:schemeClr val="tx1"/>
                </a:solidFill>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Inhaltsplatzhalter 19"/>
          <p:cNvSpPr>
            <a:spLocks noGrp="1"/>
          </p:cNvSpPr>
          <p:nvPr>
            <p:ph sz="quarter" idx="18" hasCustomPrompt="1"/>
          </p:nvPr>
        </p:nvSpPr>
        <p:spPr>
          <a:xfrm>
            <a:off x="3280745" y="1602842"/>
            <a:ext cx="2664000" cy="4176000"/>
          </a:xfrm>
          <a:prstGeom prst="rect">
            <a:avLst/>
          </a:prstGeom>
        </p:spPr>
        <p:txBody>
          <a:bodyPr/>
          <a:lstStyle>
            <a:lvl1pPr rtl="0">
              <a:defRPr>
                <a:solidFill>
                  <a:schemeClr val="tx1"/>
                </a:solidFill>
              </a:defRPr>
            </a:lvl1pPr>
            <a:lvl2pPr marL="190350" indent="-190350" rtl="0">
              <a:buSzPct val="80000"/>
              <a:buFont typeface="Wingdings 2" panose="05020102010507070707" pitchFamily="18" charset="2"/>
              <a:buChar char=""/>
              <a:defRPr>
                <a:solidFill>
                  <a:schemeClr val="tx1"/>
                </a:solidFill>
              </a:defRPr>
            </a:lvl2pPr>
            <a:lvl3pPr marL="380700" indent="-190350" rtl="0">
              <a:buSzPct val="80000"/>
              <a:buFont typeface="Wingdings 2" panose="05020102010507070707" pitchFamily="18" charset="2"/>
              <a:buChar char=""/>
              <a:defRPr>
                <a:solidFill>
                  <a:schemeClr val="tx1"/>
                </a:solidFill>
              </a:defRPr>
            </a:lvl3pPr>
            <a:lvl4pPr marL="567428" indent="-186345" rtl="0">
              <a:buSzPct val="80000"/>
              <a:buFont typeface="Arial" panose="020B0604020202020204" pitchFamily="34" charset="0"/>
              <a:buChar char="–"/>
              <a:defRPr>
                <a:solidFill>
                  <a:schemeClr val="tx1"/>
                </a:solidFill>
              </a:defRPr>
            </a:lvl4pPr>
            <a:lvl5pPr marL="760488" indent="-193060" rtl="0">
              <a:buSzPct val="80000"/>
              <a:buFont typeface="Arial" panose="020B0604020202020204" pitchFamily="34" charset="0"/>
              <a:buChar char="○"/>
              <a:defRPr>
                <a:solidFill>
                  <a:schemeClr val="tx1"/>
                </a:solidFill>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Inhaltsplatzhalter 19"/>
          <p:cNvSpPr>
            <a:spLocks noGrp="1"/>
          </p:cNvSpPr>
          <p:nvPr>
            <p:ph sz="quarter" idx="19" hasCustomPrompt="1"/>
          </p:nvPr>
        </p:nvSpPr>
        <p:spPr>
          <a:xfrm>
            <a:off x="6256746" y="1602842"/>
            <a:ext cx="2664000" cy="4176000"/>
          </a:xfrm>
          <a:prstGeom prst="rect">
            <a:avLst/>
          </a:prstGeom>
        </p:spPr>
        <p:txBody>
          <a:bodyPr/>
          <a:lstStyle>
            <a:lvl1pPr rtl="0">
              <a:defRPr>
                <a:solidFill>
                  <a:schemeClr val="tx1"/>
                </a:solidFill>
              </a:defRPr>
            </a:lvl1pPr>
            <a:lvl2pPr marL="190350" indent="-190350" rtl="0">
              <a:buSzPct val="80000"/>
              <a:buFont typeface="Wingdings 2" panose="05020102010507070707" pitchFamily="18" charset="2"/>
              <a:buChar char=""/>
              <a:defRPr>
                <a:solidFill>
                  <a:schemeClr val="tx1"/>
                </a:solidFill>
              </a:defRPr>
            </a:lvl2pPr>
            <a:lvl3pPr marL="380700" indent="-190350" rtl="0">
              <a:buSzPct val="80000"/>
              <a:buFont typeface="Wingdings 2" panose="05020102010507070707" pitchFamily="18" charset="2"/>
              <a:buChar char=""/>
              <a:defRPr>
                <a:solidFill>
                  <a:schemeClr val="tx1"/>
                </a:solidFill>
              </a:defRPr>
            </a:lvl3pPr>
            <a:lvl4pPr marL="567428" indent="-186345" rtl="0">
              <a:buSzPct val="80000"/>
              <a:buFont typeface="Arial" panose="020B0604020202020204" pitchFamily="34" charset="0"/>
              <a:buChar char="–"/>
              <a:defRPr>
                <a:solidFill>
                  <a:schemeClr val="tx1"/>
                </a:solidFill>
              </a:defRPr>
            </a:lvl4pPr>
            <a:lvl5pPr marL="760488" indent="-193060" rtl="0">
              <a:buSzPct val="80000"/>
              <a:buFont typeface="Arial" panose="020B0604020202020204" pitchFamily="34" charset="0"/>
              <a:buChar char="○"/>
              <a:defRPr>
                <a:solidFill>
                  <a:schemeClr val="tx1"/>
                </a:solidFill>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Inhaltsplatzhalter 19"/>
          <p:cNvSpPr>
            <a:spLocks noGrp="1"/>
          </p:cNvSpPr>
          <p:nvPr>
            <p:ph sz="quarter" idx="20" hasCustomPrompt="1"/>
          </p:nvPr>
        </p:nvSpPr>
        <p:spPr>
          <a:xfrm>
            <a:off x="9232747" y="1602842"/>
            <a:ext cx="2664000" cy="4176000"/>
          </a:xfrm>
          <a:prstGeom prst="rect">
            <a:avLst/>
          </a:prstGeom>
        </p:spPr>
        <p:txBody>
          <a:bodyPr/>
          <a:lstStyle>
            <a:lvl1pPr rtl="0">
              <a:defRPr>
                <a:solidFill>
                  <a:schemeClr val="tx1"/>
                </a:solidFill>
              </a:defRPr>
            </a:lvl1pPr>
            <a:lvl2pPr marL="190350" indent="-190350" rtl="0">
              <a:buSzPct val="80000"/>
              <a:buFont typeface="Wingdings 2" panose="05020102010507070707" pitchFamily="18" charset="2"/>
              <a:buChar char=""/>
              <a:defRPr>
                <a:solidFill>
                  <a:schemeClr val="tx1"/>
                </a:solidFill>
              </a:defRPr>
            </a:lvl2pPr>
            <a:lvl3pPr marL="380700" indent="-190350" rtl="0">
              <a:buSzPct val="80000"/>
              <a:buFont typeface="Wingdings 2" panose="05020102010507070707" pitchFamily="18" charset="2"/>
              <a:buChar char=""/>
              <a:defRPr>
                <a:solidFill>
                  <a:schemeClr val="tx1"/>
                </a:solidFill>
              </a:defRPr>
            </a:lvl3pPr>
            <a:lvl4pPr marL="567428" indent="-186345" rtl="0">
              <a:buSzPct val="80000"/>
              <a:buFont typeface="Arial" panose="020B0604020202020204" pitchFamily="34" charset="0"/>
              <a:buChar char="–"/>
              <a:defRPr>
                <a:solidFill>
                  <a:schemeClr val="tx1"/>
                </a:solidFill>
              </a:defRPr>
            </a:lvl4pPr>
            <a:lvl5pPr marL="760488" indent="-193060" rtl="0">
              <a:buSzPct val="80000"/>
              <a:buFont typeface="Arial" panose="020B0604020202020204" pitchFamily="34" charset="0"/>
              <a:buChar char="○"/>
              <a:defRPr>
                <a:solidFill>
                  <a:schemeClr val="tx1"/>
                </a:solidFill>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itle 1"/>
          <p:cNvSpPr>
            <a:spLocks noGrp="1"/>
          </p:cNvSpPr>
          <p:nvPr>
            <p:ph type="title" hasCustomPrompt="1"/>
          </p:nvPr>
        </p:nvSpPr>
        <p:spPr>
          <a:xfrm>
            <a:off x="304747" y="540582"/>
            <a:ext cx="11592000" cy="684000"/>
          </a:xfrm>
          <a:prstGeom prst="rect">
            <a:avLst/>
          </a:prstGeom>
        </p:spPr>
        <p:txBody>
          <a:bodyPr vert="horz">
            <a:spAutoFit/>
          </a:bodyPr>
          <a:lstStyle>
            <a:lvl1pPr marL="0" marR="0" indent="0" algn="l" defTabSz="966978" rtl="0" eaLnBrk="1" fontAlgn="auto" latinLnBrk="0" hangingPunct="1">
              <a:lnSpc>
                <a:spcPct val="90000"/>
              </a:lnSpc>
              <a:spcBef>
                <a:spcPct val="0"/>
              </a:spcBef>
              <a:spcAft>
                <a:spcPts val="0"/>
              </a:spcAft>
              <a:buClrTx/>
              <a:buSzTx/>
              <a:buFontTx/>
              <a:buNone/>
              <a:tabLst/>
              <a:defRPr sz="2400">
                <a:solidFill>
                  <a:schemeClr val="tx1"/>
                </a:solidFill>
              </a:defRPr>
            </a:lvl1pPr>
          </a:lstStyle>
          <a:p>
            <a:pPr lvl="0"/>
            <a:r>
              <a:rPr lang="en-US" dirty="0"/>
              <a:t>Action Title</a:t>
            </a:r>
            <a:br>
              <a:rPr lang="en-US" dirty="0"/>
            </a:br>
            <a:r>
              <a:rPr lang="en-US" dirty="0"/>
              <a:t>Arial Bold, 24 </a:t>
            </a:r>
            <a:r>
              <a:rPr lang="en-US" dirty="0" err="1"/>
              <a:t>pt</a:t>
            </a:r>
            <a:endParaRPr lang="en-US" dirty="0"/>
          </a:p>
        </p:txBody>
      </p:sp>
      <p:sp>
        <p:nvSpPr>
          <p:cNvPr id="11" name="Headline_placeholder">
            <a:extLst>
              <a:ext uri="{FF2B5EF4-FFF2-40B4-BE49-F238E27FC236}">
                <a16:creationId xmlns:a16="http://schemas.microsoft.com/office/drawing/2014/main" id="{F5676B5F-CD4E-4D87-9224-62754B1D2C9F}"/>
              </a:ext>
            </a:extLst>
          </p:cNvPr>
          <p:cNvSpPr>
            <a:spLocks noGrp="1"/>
          </p:cNvSpPr>
          <p:nvPr>
            <p:ph type="body" sz="quarter" idx="14" hasCustomPrompt="1"/>
          </p:nvPr>
        </p:nvSpPr>
        <p:spPr>
          <a:xfrm>
            <a:off x="304747" y="188095"/>
            <a:ext cx="11592000" cy="180000"/>
          </a:xfrm>
          <a:prstGeom prst="rect">
            <a:avLst/>
          </a:prstGeom>
        </p:spPr>
        <p:txBody>
          <a:bodyPr>
            <a:spAutoFit/>
          </a:bodyPr>
          <a:lstStyle>
            <a:lvl1pPr>
              <a:defRPr sz="1100"/>
            </a:lvl1pPr>
          </a:lstStyle>
          <a:p>
            <a:pPr lvl="0"/>
            <a:r>
              <a:rPr lang="en-US" dirty="0"/>
              <a:t>Headline</a:t>
            </a:r>
          </a:p>
        </p:txBody>
      </p:sp>
      <p:sp>
        <p:nvSpPr>
          <p:cNvPr id="16" name="Source_placeholder">
            <a:extLst>
              <a:ext uri="{FF2B5EF4-FFF2-40B4-BE49-F238E27FC236}">
                <a16:creationId xmlns:a16="http://schemas.microsoft.com/office/drawing/2014/main" id="{4577E3AE-F916-4D16-9F9C-A337A4A900AB}"/>
              </a:ext>
            </a:extLst>
          </p:cNvPr>
          <p:cNvSpPr>
            <a:spLocks noGrp="1"/>
          </p:cNvSpPr>
          <p:nvPr>
            <p:ph type="body" sz="quarter" idx="21" hasCustomPrompt="1"/>
          </p:nvPr>
        </p:nvSpPr>
        <p:spPr>
          <a:xfrm>
            <a:off x="304747" y="6032861"/>
            <a:ext cx="11592000" cy="144000"/>
          </a:xfrm>
          <a:prstGeom prst="rect">
            <a:avLst/>
          </a:prstGeom>
        </p:spPr>
        <p:txBody>
          <a:bodyPr>
            <a:spAutoFit/>
          </a:bodyPr>
          <a:lstStyle>
            <a:lvl1pPr>
              <a:defRPr sz="900" i="1"/>
            </a:lvl1pPr>
          </a:lstStyle>
          <a:p>
            <a:pPr marL="0" marR="0" lvl="0" indent="0" algn="l" defTabSz="483489" rtl="0" eaLnBrk="1" fontAlgn="auto" latinLnBrk="0" hangingPunct="1">
              <a:lnSpc>
                <a:spcPct val="100000"/>
              </a:lnSpc>
              <a:spcBef>
                <a:spcPts val="0"/>
              </a:spcBef>
              <a:spcAft>
                <a:spcPts val="300"/>
              </a:spcAft>
              <a:buClrTx/>
              <a:buSzTx/>
              <a:buFont typeface="Arial" panose="020B0604020202020204" pitchFamily="34" charset="0"/>
              <a:buNone/>
              <a:tabLst/>
              <a:defRPr/>
            </a:pPr>
            <a:r>
              <a:rPr lang="en-US" dirty="0"/>
              <a:t>Source: Arial italic plain, 9 </a:t>
            </a:r>
            <a:r>
              <a:rPr lang="en-US" dirty="0" err="1"/>
              <a:t>pt</a:t>
            </a:r>
            <a:endParaRPr lang="en-US" dirty="0"/>
          </a:p>
        </p:txBody>
      </p:sp>
    </p:spTree>
    <p:extLst>
      <p:ext uri="{BB962C8B-B14F-4D97-AF65-F5344CB8AC3E}">
        <p14:creationId xmlns:p14="http://schemas.microsoft.com/office/powerpoint/2010/main" val="4450159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and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18920772"/>
              </p:ext>
            </p:extLst>
          </p:nvPr>
        </p:nvGraphicFramePr>
        <p:xfrm>
          <a:off x="1680" y="1681"/>
          <a:ext cx="1680" cy="1679"/>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p:cNvPicPr/>
                      <p:nvPr/>
                    </p:nvPicPr>
                    <p:blipFill>
                      <a:blip r:embed="rId5"/>
                      <a:stretch>
                        <a:fillRect/>
                      </a:stretch>
                    </p:blipFill>
                    <p:spPr>
                      <a:xfrm>
                        <a:off x="1680" y="1681"/>
                        <a:ext cx="1680" cy="1679"/>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67980" cy="167882"/>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eaLnBrk="1"/>
            <a:endParaRPr lang="en-US" sz="2538"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icture Placeholder 8"/>
          <p:cNvSpPr>
            <a:spLocks noGrp="1"/>
          </p:cNvSpPr>
          <p:nvPr>
            <p:ph type="pic" sz="quarter" idx="14"/>
          </p:nvPr>
        </p:nvSpPr>
        <p:spPr>
          <a:xfrm>
            <a:off x="6360000" y="0"/>
            <a:ext cx="5832000" cy="6858000"/>
          </a:xfrm>
          <a:prstGeom prst="rect">
            <a:avLst/>
          </a:prstGeom>
        </p:spPr>
        <p:txBody>
          <a:bodyPr/>
          <a:lstStyle/>
          <a:p>
            <a:r>
              <a:rPr lang="en-US"/>
              <a:t>Click icon to add picture</a:t>
            </a:r>
            <a:endParaRPr lang="en-US" dirty="0"/>
          </a:p>
        </p:txBody>
      </p:sp>
      <p:pic>
        <p:nvPicPr>
          <p:cNvPr id="11" name="Grafik 11"/>
          <p:cNvPicPr>
            <a:picLocks noChangeAspect="1"/>
          </p:cNvPicPr>
          <p:nvPr userDrawn="1"/>
        </p:nvPicPr>
        <p:blipFill rotWithShape="1">
          <a:blip r:embed="rId6">
            <a:extLst>
              <a:ext uri="{28A0092B-C50C-407E-A947-70E740481C1C}">
                <a14:useLocalDpi xmlns:a14="http://schemas.microsoft.com/office/drawing/2010/main" val="0"/>
              </a:ext>
            </a:extLst>
          </a:blip>
          <a:srcRect l="1311" t="29160" r="2494" b="29294"/>
          <a:stretch/>
        </p:blipFill>
        <p:spPr>
          <a:xfrm>
            <a:off x="302367" y="6394337"/>
            <a:ext cx="879528" cy="268274"/>
          </a:xfrm>
          <a:prstGeom prst="rect">
            <a:avLst/>
          </a:prstGeom>
        </p:spPr>
      </p:pic>
      <p:sp>
        <p:nvSpPr>
          <p:cNvPr id="13" name="Inhaltsplatzhalter 19"/>
          <p:cNvSpPr>
            <a:spLocks noGrp="1"/>
          </p:cNvSpPr>
          <p:nvPr>
            <p:ph sz="quarter" idx="17" hasCustomPrompt="1"/>
          </p:nvPr>
        </p:nvSpPr>
        <p:spPr>
          <a:xfrm>
            <a:off x="304746" y="1602842"/>
            <a:ext cx="5796000" cy="4176000"/>
          </a:xfrm>
          <a:prstGeom prst="rect">
            <a:avLst/>
          </a:prstGeom>
        </p:spPr>
        <p:txBody>
          <a:bodyPr/>
          <a:lstStyle>
            <a:lvl1pPr rtl="0">
              <a:defRPr>
                <a:solidFill>
                  <a:schemeClr val="tx1"/>
                </a:solidFill>
              </a:defRPr>
            </a:lvl1pPr>
            <a:lvl2pPr marL="190350" indent="-190350" rtl="0">
              <a:buSzPct val="80000"/>
              <a:buFont typeface="Wingdings 2" panose="05020102010507070707" pitchFamily="18" charset="2"/>
              <a:buChar char=""/>
              <a:defRPr>
                <a:solidFill>
                  <a:schemeClr val="tx1"/>
                </a:solidFill>
              </a:defRPr>
            </a:lvl2pPr>
            <a:lvl3pPr marL="380700" indent="-190350" rtl="0">
              <a:buSzPct val="80000"/>
              <a:buFont typeface="Wingdings 2" panose="05020102010507070707" pitchFamily="18" charset="2"/>
              <a:buChar char=""/>
              <a:defRPr>
                <a:solidFill>
                  <a:schemeClr val="tx1"/>
                </a:solidFill>
              </a:defRPr>
            </a:lvl3pPr>
            <a:lvl4pPr marL="567428" indent="-186345" rtl="0">
              <a:buSzPct val="80000"/>
              <a:buFont typeface="Arial" panose="020B0604020202020204" pitchFamily="34" charset="0"/>
              <a:buChar char="–"/>
              <a:defRPr>
                <a:solidFill>
                  <a:schemeClr val="tx1"/>
                </a:solidFill>
              </a:defRPr>
            </a:lvl4pPr>
            <a:lvl5pPr marL="760488" indent="-193060" rtl="0">
              <a:buSzPct val="80000"/>
              <a:buFont typeface="Arial" panose="020B0604020202020204" pitchFamily="34" charset="0"/>
              <a:buChar char="○"/>
              <a:defRPr>
                <a:solidFill>
                  <a:schemeClr val="tx1"/>
                </a:solidFill>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
          <p:cNvSpPr>
            <a:spLocks noGrp="1"/>
          </p:cNvSpPr>
          <p:nvPr>
            <p:ph type="title" hasCustomPrompt="1"/>
          </p:nvPr>
        </p:nvSpPr>
        <p:spPr>
          <a:xfrm>
            <a:off x="304746" y="540582"/>
            <a:ext cx="5796000" cy="684000"/>
          </a:xfrm>
          <a:prstGeom prst="rect">
            <a:avLst/>
          </a:prstGeom>
        </p:spPr>
        <p:txBody>
          <a:bodyPr vert="horz" wrap="square">
            <a:spAutoFit/>
          </a:bodyPr>
          <a:lstStyle>
            <a:lvl1pPr marL="0" marR="0" indent="0" algn="l" defTabSz="966978" rtl="0" eaLnBrk="1" fontAlgn="auto" latinLnBrk="0" hangingPunct="1">
              <a:lnSpc>
                <a:spcPct val="90000"/>
              </a:lnSpc>
              <a:spcBef>
                <a:spcPct val="0"/>
              </a:spcBef>
              <a:spcAft>
                <a:spcPts val="0"/>
              </a:spcAft>
              <a:buClrTx/>
              <a:buSzTx/>
              <a:buFontTx/>
              <a:buNone/>
              <a:tabLst/>
              <a:defRPr sz="2400">
                <a:solidFill>
                  <a:schemeClr val="tx1"/>
                </a:solidFill>
              </a:defRPr>
            </a:lvl1pPr>
          </a:lstStyle>
          <a:p>
            <a:pPr lvl="0"/>
            <a:r>
              <a:rPr lang="en-US" dirty="0"/>
              <a:t>Action Title</a:t>
            </a:r>
            <a:br>
              <a:rPr lang="en-US" dirty="0"/>
            </a:br>
            <a:r>
              <a:rPr lang="en-US" dirty="0"/>
              <a:t>Arial Bold, 24 </a:t>
            </a:r>
            <a:r>
              <a:rPr lang="en-US" dirty="0" err="1"/>
              <a:t>pt</a:t>
            </a:r>
            <a:endParaRPr lang="en-US" dirty="0"/>
          </a:p>
        </p:txBody>
      </p:sp>
      <p:sp>
        <p:nvSpPr>
          <p:cNvPr id="14" name="Headline_placeholder">
            <a:extLst>
              <a:ext uri="{FF2B5EF4-FFF2-40B4-BE49-F238E27FC236}">
                <a16:creationId xmlns:a16="http://schemas.microsoft.com/office/drawing/2014/main" id="{688AFA18-B7B2-420C-8E32-770FD72DE9BC}"/>
              </a:ext>
            </a:extLst>
          </p:cNvPr>
          <p:cNvSpPr>
            <a:spLocks noGrp="1"/>
          </p:cNvSpPr>
          <p:nvPr>
            <p:ph type="body" sz="quarter" idx="18" hasCustomPrompt="1"/>
          </p:nvPr>
        </p:nvSpPr>
        <p:spPr>
          <a:xfrm>
            <a:off x="304747" y="188095"/>
            <a:ext cx="5796000" cy="180000"/>
          </a:xfrm>
          <a:prstGeom prst="rect">
            <a:avLst/>
          </a:prstGeom>
        </p:spPr>
        <p:txBody>
          <a:bodyPr>
            <a:spAutoFit/>
          </a:bodyPr>
          <a:lstStyle>
            <a:lvl1pPr>
              <a:defRPr sz="1100"/>
            </a:lvl1pPr>
          </a:lstStyle>
          <a:p>
            <a:pPr lvl="0"/>
            <a:r>
              <a:rPr lang="en-US" dirty="0"/>
              <a:t>Headline</a:t>
            </a:r>
          </a:p>
        </p:txBody>
      </p:sp>
      <p:sp>
        <p:nvSpPr>
          <p:cNvPr id="15" name="Source_placeholder">
            <a:extLst>
              <a:ext uri="{FF2B5EF4-FFF2-40B4-BE49-F238E27FC236}">
                <a16:creationId xmlns:a16="http://schemas.microsoft.com/office/drawing/2014/main" id="{0AE87BE5-FCEC-407F-9F18-BB295E1DADBF}"/>
              </a:ext>
            </a:extLst>
          </p:cNvPr>
          <p:cNvSpPr>
            <a:spLocks noGrp="1"/>
          </p:cNvSpPr>
          <p:nvPr>
            <p:ph type="body" sz="quarter" idx="21" hasCustomPrompt="1"/>
          </p:nvPr>
        </p:nvSpPr>
        <p:spPr>
          <a:xfrm>
            <a:off x="304747" y="6032861"/>
            <a:ext cx="5796000" cy="144000"/>
          </a:xfrm>
          <a:prstGeom prst="rect">
            <a:avLst/>
          </a:prstGeom>
        </p:spPr>
        <p:txBody>
          <a:bodyPr>
            <a:spAutoFit/>
          </a:bodyPr>
          <a:lstStyle>
            <a:lvl1pPr>
              <a:defRPr sz="900" i="1"/>
            </a:lvl1pPr>
          </a:lstStyle>
          <a:p>
            <a:pPr marL="0" marR="0" lvl="0" indent="0" algn="l" defTabSz="483489" rtl="0" eaLnBrk="1" fontAlgn="auto" latinLnBrk="0" hangingPunct="1">
              <a:lnSpc>
                <a:spcPct val="100000"/>
              </a:lnSpc>
              <a:spcBef>
                <a:spcPts val="0"/>
              </a:spcBef>
              <a:spcAft>
                <a:spcPts val="300"/>
              </a:spcAft>
              <a:buClrTx/>
              <a:buSzTx/>
              <a:buFont typeface="Arial" panose="020B0604020202020204" pitchFamily="34" charset="0"/>
              <a:buNone/>
              <a:tabLst/>
              <a:defRPr/>
            </a:pPr>
            <a:r>
              <a:rPr lang="en-US" dirty="0"/>
              <a:t>Source: Arial italic plain, 9 </a:t>
            </a:r>
            <a:r>
              <a:rPr lang="en-US" dirty="0" err="1"/>
              <a:t>pt</a:t>
            </a:r>
            <a:endParaRPr lang="en-US" dirty="0"/>
          </a:p>
        </p:txBody>
      </p:sp>
    </p:spTree>
    <p:extLst>
      <p:ext uri="{BB962C8B-B14F-4D97-AF65-F5344CB8AC3E}">
        <p14:creationId xmlns:p14="http://schemas.microsoft.com/office/powerpoint/2010/main" val="3408810064"/>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icture and Text ">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430375404"/>
              </p:ext>
            </p:extLst>
          </p:nvPr>
        </p:nvGraphicFramePr>
        <p:xfrm>
          <a:off x="1680" y="1681"/>
          <a:ext cx="1680" cy="1679"/>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p:cNvPicPr/>
                      <p:nvPr/>
                    </p:nvPicPr>
                    <p:blipFill>
                      <a:blip r:embed="rId5"/>
                      <a:stretch>
                        <a:fillRect/>
                      </a:stretch>
                    </p:blipFill>
                    <p:spPr>
                      <a:xfrm>
                        <a:off x="1680" y="1681"/>
                        <a:ext cx="1680" cy="1679"/>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67980" cy="167882"/>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eaLnBrk="1"/>
            <a:endParaRPr lang="en-US" sz="2538"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icture Placeholder 8"/>
          <p:cNvSpPr>
            <a:spLocks noGrp="1"/>
          </p:cNvSpPr>
          <p:nvPr>
            <p:ph type="pic" sz="quarter" idx="14"/>
          </p:nvPr>
        </p:nvSpPr>
        <p:spPr>
          <a:xfrm>
            <a:off x="0" y="0"/>
            <a:ext cx="5832000" cy="6858000"/>
          </a:xfrm>
          <a:prstGeom prst="rect">
            <a:avLst/>
          </a:prstGeom>
        </p:spPr>
        <p:txBody>
          <a:bodyPr/>
          <a:lstStyle/>
          <a:p>
            <a:r>
              <a:rPr lang="en-US"/>
              <a:t>Click icon to add picture</a:t>
            </a:r>
          </a:p>
        </p:txBody>
      </p:sp>
      <p:sp>
        <p:nvSpPr>
          <p:cNvPr id="13" name="Inhaltsplatzhalter 19"/>
          <p:cNvSpPr>
            <a:spLocks noGrp="1"/>
          </p:cNvSpPr>
          <p:nvPr>
            <p:ph sz="quarter" idx="17" hasCustomPrompt="1"/>
          </p:nvPr>
        </p:nvSpPr>
        <p:spPr>
          <a:xfrm>
            <a:off x="6100747" y="1602842"/>
            <a:ext cx="5796000" cy="4176000"/>
          </a:xfrm>
          <a:prstGeom prst="rect">
            <a:avLst/>
          </a:prstGeom>
        </p:spPr>
        <p:txBody>
          <a:bodyPr/>
          <a:lstStyle>
            <a:lvl1pPr rtl="0">
              <a:defRPr>
                <a:solidFill>
                  <a:schemeClr val="tx1"/>
                </a:solidFill>
              </a:defRPr>
            </a:lvl1pPr>
            <a:lvl2pPr marL="190350" indent="-190350" rtl="0">
              <a:buSzPct val="80000"/>
              <a:buFont typeface="Wingdings 2" panose="05020102010507070707" pitchFamily="18" charset="2"/>
              <a:buChar char=""/>
              <a:defRPr>
                <a:solidFill>
                  <a:schemeClr val="tx1"/>
                </a:solidFill>
              </a:defRPr>
            </a:lvl2pPr>
            <a:lvl3pPr marL="380700" indent="-190350" rtl="0">
              <a:buSzPct val="80000"/>
              <a:buFont typeface="Wingdings 2" panose="05020102010507070707" pitchFamily="18" charset="2"/>
              <a:buChar char=""/>
              <a:defRPr>
                <a:solidFill>
                  <a:schemeClr val="tx1"/>
                </a:solidFill>
              </a:defRPr>
            </a:lvl3pPr>
            <a:lvl4pPr marL="567428" indent="-186345" rtl="0">
              <a:buSzPct val="80000"/>
              <a:buFont typeface="Arial" panose="020B0604020202020204" pitchFamily="34" charset="0"/>
              <a:buChar char="–"/>
              <a:defRPr>
                <a:solidFill>
                  <a:schemeClr val="tx1"/>
                </a:solidFill>
              </a:defRPr>
            </a:lvl4pPr>
            <a:lvl5pPr marL="760488" indent="-193060" rtl="0">
              <a:buSzPct val="80000"/>
              <a:buFont typeface="Arial" panose="020B0604020202020204" pitchFamily="34" charset="0"/>
              <a:buChar char="○"/>
              <a:defRPr>
                <a:solidFill>
                  <a:schemeClr val="tx1"/>
                </a:solidFill>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1"/>
          <p:cNvSpPr>
            <a:spLocks noGrp="1"/>
          </p:cNvSpPr>
          <p:nvPr>
            <p:ph type="title" hasCustomPrompt="1"/>
          </p:nvPr>
        </p:nvSpPr>
        <p:spPr>
          <a:xfrm>
            <a:off x="6100747" y="540582"/>
            <a:ext cx="5796000" cy="684000"/>
          </a:xfrm>
          <a:prstGeom prst="rect">
            <a:avLst/>
          </a:prstGeom>
        </p:spPr>
        <p:txBody>
          <a:bodyPr vert="horz" wrap="square">
            <a:spAutoFit/>
          </a:bodyPr>
          <a:lstStyle>
            <a:lvl1pPr marL="0" marR="0" indent="0" algn="l" defTabSz="966978" rtl="0" eaLnBrk="1" fontAlgn="auto" latinLnBrk="0" hangingPunct="1">
              <a:lnSpc>
                <a:spcPct val="90000"/>
              </a:lnSpc>
              <a:spcBef>
                <a:spcPct val="0"/>
              </a:spcBef>
              <a:spcAft>
                <a:spcPts val="0"/>
              </a:spcAft>
              <a:buClrTx/>
              <a:buSzTx/>
              <a:buFontTx/>
              <a:buNone/>
              <a:tabLst/>
              <a:defRPr sz="2400">
                <a:solidFill>
                  <a:schemeClr val="tx1"/>
                </a:solidFill>
              </a:defRPr>
            </a:lvl1pPr>
          </a:lstStyle>
          <a:p>
            <a:pPr lvl="0"/>
            <a:r>
              <a:rPr lang="en-US" dirty="0"/>
              <a:t>Action Title</a:t>
            </a:r>
            <a:br>
              <a:rPr lang="en-US" dirty="0"/>
            </a:br>
            <a:r>
              <a:rPr lang="en-US" dirty="0"/>
              <a:t>Arial Bold, 24 </a:t>
            </a:r>
            <a:r>
              <a:rPr lang="en-US" dirty="0" err="1"/>
              <a:t>pt</a:t>
            </a:r>
            <a:endParaRPr lang="en-US" dirty="0"/>
          </a:p>
        </p:txBody>
      </p:sp>
      <p:sp>
        <p:nvSpPr>
          <p:cNvPr id="12" name="Headline_placeholder">
            <a:extLst>
              <a:ext uri="{FF2B5EF4-FFF2-40B4-BE49-F238E27FC236}">
                <a16:creationId xmlns:a16="http://schemas.microsoft.com/office/drawing/2014/main" id="{A5AF1B9E-362C-4C59-9F8F-E1F5632BCC98}"/>
              </a:ext>
            </a:extLst>
          </p:cNvPr>
          <p:cNvSpPr>
            <a:spLocks noGrp="1"/>
          </p:cNvSpPr>
          <p:nvPr>
            <p:ph type="body" sz="quarter" idx="18" hasCustomPrompt="1"/>
          </p:nvPr>
        </p:nvSpPr>
        <p:spPr>
          <a:xfrm>
            <a:off x="6100747" y="188095"/>
            <a:ext cx="5796000" cy="180000"/>
          </a:xfrm>
          <a:prstGeom prst="rect">
            <a:avLst/>
          </a:prstGeom>
        </p:spPr>
        <p:txBody>
          <a:bodyPr>
            <a:spAutoFit/>
          </a:bodyPr>
          <a:lstStyle>
            <a:lvl1pPr>
              <a:defRPr sz="1100"/>
            </a:lvl1pPr>
          </a:lstStyle>
          <a:p>
            <a:pPr lvl="0"/>
            <a:r>
              <a:rPr lang="en-US" dirty="0"/>
              <a:t>Headline</a:t>
            </a:r>
          </a:p>
        </p:txBody>
      </p:sp>
      <p:sp>
        <p:nvSpPr>
          <p:cNvPr id="14" name="Source_placeholder">
            <a:extLst>
              <a:ext uri="{FF2B5EF4-FFF2-40B4-BE49-F238E27FC236}">
                <a16:creationId xmlns:a16="http://schemas.microsoft.com/office/drawing/2014/main" id="{6056B7F0-FA74-4264-B760-0B20645633EB}"/>
              </a:ext>
            </a:extLst>
          </p:cNvPr>
          <p:cNvSpPr>
            <a:spLocks noGrp="1"/>
          </p:cNvSpPr>
          <p:nvPr>
            <p:ph type="body" sz="quarter" idx="21" hasCustomPrompt="1"/>
          </p:nvPr>
        </p:nvSpPr>
        <p:spPr>
          <a:xfrm>
            <a:off x="6100747" y="6032862"/>
            <a:ext cx="5796000" cy="144000"/>
          </a:xfrm>
          <a:prstGeom prst="rect">
            <a:avLst/>
          </a:prstGeom>
        </p:spPr>
        <p:txBody>
          <a:bodyPr>
            <a:spAutoFit/>
          </a:bodyPr>
          <a:lstStyle>
            <a:lvl1pPr>
              <a:defRPr sz="900" i="1"/>
            </a:lvl1pPr>
          </a:lstStyle>
          <a:p>
            <a:pPr marL="0" marR="0" lvl="0" indent="0" algn="l" defTabSz="483489" rtl="0" eaLnBrk="1" fontAlgn="auto" latinLnBrk="0" hangingPunct="1">
              <a:lnSpc>
                <a:spcPct val="100000"/>
              </a:lnSpc>
              <a:spcBef>
                <a:spcPts val="0"/>
              </a:spcBef>
              <a:spcAft>
                <a:spcPts val="300"/>
              </a:spcAft>
              <a:buClrTx/>
              <a:buSzTx/>
              <a:buFont typeface="Arial" panose="020B0604020202020204" pitchFamily="34" charset="0"/>
              <a:buNone/>
              <a:tabLst/>
              <a:defRPr/>
            </a:pPr>
            <a:r>
              <a:rPr lang="en-US" dirty="0"/>
              <a:t>Source: Arial italic plain, 9 </a:t>
            </a:r>
            <a:r>
              <a:rPr lang="en-US" dirty="0" err="1"/>
              <a:t>pt</a:t>
            </a:r>
            <a:endParaRPr lang="en-US" dirty="0"/>
          </a:p>
        </p:txBody>
      </p:sp>
    </p:spTree>
    <p:extLst>
      <p:ext uri="{BB962C8B-B14F-4D97-AF65-F5344CB8AC3E}">
        <p14:creationId xmlns:p14="http://schemas.microsoft.com/office/powerpoint/2010/main" val="1268106301"/>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icture2 and Text ">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371118787"/>
              </p:ext>
            </p:extLst>
          </p:nvPr>
        </p:nvGraphicFramePr>
        <p:xfrm>
          <a:off x="1680" y="1681"/>
          <a:ext cx="1680" cy="1679"/>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p:cNvPicPr/>
                      <p:nvPr/>
                    </p:nvPicPr>
                    <p:blipFill>
                      <a:blip r:embed="rId5"/>
                      <a:stretch>
                        <a:fillRect/>
                      </a:stretch>
                    </p:blipFill>
                    <p:spPr>
                      <a:xfrm>
                        <a:off x="1680" y="1681"/>
                        <a:ext cx="1680" cy="1679"/>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67980" cy="167882"/>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eaLnBrk="1"/>
            <a:endParaRPr lang="en-US" sz="2538"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icture Placeholder 8"/>
          <p:cNvSpPr>
            <a:spLocks noGrp="1"/>
          </p:cNvSpPr>
          <p:nvPr>
            <p:ph type="pic" sz="quarter" idx="14"/>
          </p:nvPr>
        </p:nvSpPr>
        <p:spPr>
          <a:xfrm>
            <a:off x="0" y="3361"/>
            <a:ext cx="3780000" cy="6854641"/>
          </a:xfrm>
          <a:prstGeom prst="rect">
            <a:avLst/>
          </a:prstGeom>
        </p:spPr>
        <p:txBody>
          <a:bodyPr/>
          <a:lstStyle/>
          <a:p>
            <a:r>
              <a:rPr lang="en-US"/>
              <a:t>Click icon to add picture</a:t>
            </a:r>
          </a:p>
        </p:txBody>
      </p:sp>
      <p:sp>
        <p:nvSpPr>
          <p:cNvPr id="13" name="Inhaltsplatzhalter 19"/>
          <p:cNvSpPr>
            <a:spLocks noGrp="1"/>
          </p:cNvSpPr>
          <p:nvPr>
            <p:ph sz="quarter" idx="17" hasCustomPrompt="1"/>
          </p:nvPr>
        </p:nvSpPr>
        <p:spPr>
          <a:xfrm>
            <a:off x="4048747" y="1602842"/>
            <a:ext cx="7848000" cy="4176000"/>
          </a:xfrm>
          <a:prstGeom prst="rect">
            <a:avLst/>
          </a:prstGeom>
        </p:spPr>
        <p:txBody>
          <a:bodyPr/>
          <a:lstStyle>
            <a:lvl1pPr rtl="0">
              <a:defRPr>
                <a:solidFill>
                  <a:schemeClr val="tx1"/>
                </a:solidFill>
              </a:defRPr>
            </a:lvl1pPr>
            <a:lvl2pPr marL="190350" indent="-190350" rtl="0">
              <a:buSzPct val="80000"/>
              <a:buFont typeface="Wingdings 2" panose="05020102010507070707" pitchFamily="18" charset="2"/>
              <a:buChar char=""/>
              <a:defRPr>
                <a:solidFill>
                  <a:schemeClr val="tx1"/>
                </a:solidFill>
              </a:defRPr>
            </a:lvl2pPr>
            <a:lvl3pPr marL="380700" indent="-190350" rtl="0">
              <a:buSzPct val="80000"/>
              <a:buFont typeface="Wingdings 2" panose="05020102010507070707" pitchFamily="18" charset="2"/>
              <a:buChar char=""/>
              <a:defRPr>
                <a:solidFill>
                  <a:schemeClr val="tx1"/>
                </a:solidFill>
              </a:defRPr>
            </a:lvl3pPr>
            <a:lvl4pPr marL="567428" indent="-186345" rtl="0">
              <a:buSzPct val="80000"/>
              <a:buFont typeface="Arial" panose="020B0604020202020204" pitchFamily="34" charset="0"/>
              <a:buChar char="–"/>
              <a:defRPr>
                <a:solidFill>
                  <a:schemeClr val="tx1"/>
                </a:solidFill>
              </a:defRPr>
            </a:lvl4pPr>
            <a:lvl5pPr marL="760488" indent="-193060" rtl="0">
              <a:buSzPct val="80000"/>
              <a:buFont typeface="Arial" panose="020B0604020202020204" pitchFamily="34" charset="0"/>
              <a:buChar char="○"/>
              <a:defRPr>
                <a:solidFill>
                  <a:schemeClr val="tx1"/>
                </a:solidFill>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1"/>
          <p:cNvSpPr>
            <a:spLocks noGrp="1"/>
          </p:cNvSpPr>
          <p:nvPr>
            <p:ph type="title" hasCustomPrompt="1"/>
          </p:nvPr>
        </p:nvSpPr>
        <p:spPr>
          <a:xfrm>
            <a:off x="4048747" y="540582"/>
            <a:ext cx="7848000" cy="684000"/>
          </a:xfrm>
          <a:prstGeom prst="rect">
            <a:avLst/>
          </a:prstGeom>
        </p:spPr>
        <p:txBody>
          <a:bodyPr vert="horz" wrap="square">
            <a:spAutoFit/>
          </a:bodyPr>
          <a:lstStyle>
            <a:lvl1pPr marL="0" marR="0" indent="0" algn="l" defTabSz="966978" rtl="0" eaLnBrk="1" fontAlgn="auto" latinLnBrk="0" hangingPunct="1">
              <a:lnSpc>
                <a:spcPct val="90000"/>
              </a:lnSpc>
              <a:spcBef>
                <a:spcPct val="0"/>
              </a:spcBef>
              <a:spcAft>
                <a:spcPts val="0"/>
              </a:spcAft>
              <a:buClrTx/>
              <a:buSzTx/>
              <a:buFontTx/>
              <a:buNone/>
              <a:tabLst/>
              <a:defRPr sz="2400">
                <a:solidFill>
                  <a:schemeClr val="tx1"/>
                </a:solidFill>
              </a:defRPr>
            </a:lvl1pPr>
          </a:lstStyle>
          <a:p>
            <a:pPr lvl="0"/>
            <a:r>
              <a:rPr lang="en-US" dirty="0"/>
              <a:t>Action Title</a:t>
            </a:r>
            <a:br>
              <a:rPr lang="en-US" dirty="0"/>
            </a:br>
            <a:r>
              <a:rPr lang="en-US" dirty="0"/>
              <a:t>Arial Bold, 24 </a:t>
            </a:r>
            <a:r>
              <a:rPr lang="en-US" dirty="0" err="1"/>
              <a:t>pt</a:t>
            </a:r>
            <a:endParaRPr lang="en-US" dirty="0"/>
          </a:p>
        </p:txBody>
      </p:sp>
      <p:sp>
        <p:nvSpPr>
          <p:cNvPr id="12" name="Headline_placeholder">
            <a:extLst>
              <a:ext uri="{FF2B5EF4-FFF2-40B4-BE49-F238E27FC236}">
                <a16:creationId xmlns:a16="http://schemas.microsoft.com/office/drawing/2014/main" id="{A5AF1B9E-362C-4C59-9F8F-E1F5632BCC98}"/>
              </a:ext>
            </a:extLst>
          </p:cNvPr>
          <p:cNvSpPr>
            <a:spLocks noGrp="1"/>
          </p:cNvSpPr>
          <p:nvPr>
            <p:ph type="body" sz="quarter" idx="18" hasCustomPrompt="1"/>
          </p:nvPr>
        </p:nvSpPr>
        <p:spPr>
          <a:xfrm>
            <a:off x="4048747" y="188095"/>
            <a:ext cx="7848000" cy="180000"/>
          </a:xfrm>
          <a:prstGeom prst="rect">
            <a:avLst/>
          </a:prstGeom>
        </p:spPr>
        <p:txBody>
          <a:bodyPr wrap="square">
            <a:spAutoFit/>
          </a:bodyPr>
          <a:lstStyle>
            <a:lvl1pPr>
              <a:defRPr sz="1100"/>
            </a:lvl1pPr>
          </a:lstStyle>
          <a:p>
            <a:pPr lvl="0"/>
            <a:r>
              <a:rPr lang="en-US" dirty="0"/>
              <a:t>Headline</a:t>
            </a:r>
          </a:p>
        </p:txBody>
      </p:sp>
      <p:sp>
        <p:nvSpPr>
          <p:cNvPr id="14" name="Source_placeholder">
            <a:extLst>
              <a:ext uri="{FF2B5EF4-FFF2-40B4-BE49-F238E27FC236}">
                <a16:creationId xmlns:a16="http://schemas.microsoft.com/office/drawing/2014/main" id="{6056B7F0-FA74-4264-B760-0B20645633EB}"/>
              </a:ext>
            </a:extLst>
          </p:cNvPr>
          <p:cNvSpPr>
            <a:spLocks noGrp="1"/>
          </p:cNvSpPr>
          <p:nvPr>
            <p:ph type="body" sz="quarter" idx="21" hasCustomPrompt="1"/>
          </p:nvPr>
        </p:nvSpPr>
        <p:spPr>
          <a:xfrm>
            <a:off x="4048747" y="6032861"/>
            <a:ext cx="7848000" cy="144000"/>
          </a:xfrm>
          <a:prstGeom prst="rect">
            <a:avLst/>
          </a:prstGeom>
        </p:spPr>
        <p:txBody>
          <a:bodyPr wrap="square">
            <a:spAutoFit/>
          </a:bodyPr>
          <a:lstStyle>
            <a:lvl1pPr>
              <a:defRPr sz="900" i="1"/>
            </a:lvl1pPr>
          </a:lstStyle>
          <a:p>
            <a:pPr marL="0" marR="0" lvl="0" indent="0" algn="l" defTabSz="483489" rtl="0" eaLnBrk="1" fontAlgn="auto" latinLnBrk="0" hangingPunct="1">
              <a:lnSpc>
                <a:spcPct val="100000"/>
              </a:lnSpc>
              <a:spcBef>
                <a:spcPts val="0"/>
              </a:spcBef>
              <a:spcAft>
                <a:spcPts val="300"/>
              </a:spcAft>
              <a:buClrTx/>
              <a:buSzTx/>
              <a:buFont typeface="Arial" panose="020B0604020202020204" pitchFamily="34" charset="0"/>
              <a:buNone/>
              <a:tabLst/>
              <a:defRPr/>
            </a:pPr>
            <a:r>
              <a:rPr lang="en-US" dirty="0"/>
              <a:t>Source: Arial italic plain, 9 </a:t>
            </a:r>
            <a:r>
              <a:rPr lang="en-US" dirty="0" err="1"/>
              <a:t>pt</a:t>
            </a:r>
            <a:endParaRPr lang="en-US" dirty="0"/>
          </a:p>
        </p:txBody>
      </p:sp>
    </p:spTree>
    <p:extLst>
      <p:ext uri="{BB962C8B-B14F-4D97-AF65-F5344CB8AC3E}">
        <p14:creationId xmlns:p14="http://schemas.microsoft.com/office/powerpoint/2010/main" val="4206137300"/>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and Picture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18989725"/>
              </p:ext>
            </p:extLst>
          </p:nvPr>
        </p:nvGraphicFramePr>
        <p:xfrm>
          <a:off x="1680" y="1681"/>
          <a:ext cx="1680" cy="1679"/>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p:cNvPicPr/>
                      <p:nvPr/>
                    </p:nvPicPr>
                    <p:blipFill>
                      <a:blip r:embed="rId5"/>
                      <a:stretch>
                        <a:fillRect/>
                      </a:stretch>
                    </p:blipFill>
                    <p:spPr>
                      <a:xfrm>
                        <a:off x="1680" y="1681"/>
                        <a:ext cx="1680" cy="1679"/>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67980" cy="167882"/>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eaLnBrk="1"/>
            <a:endParaRPr lang="en-US" sz="2538"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icture Placeholder 8"/>
          <p:cNvSpPr>
            <a:spLocks noGrp="1"/>
          </p:cNvSpPr>
          <p:nvPr>
            <p:ph type="pic" sz="quarter" idx="14"/>
          </p:nvPr>
        </p:nvSpPr>
        <p:spPr>
          <a:xfrm>
            <a:off x="8412000" y="0"/>
            <a:ext cx="3780000" cy="6858000"/>
          </a:xfrm>
          <a:prstGeom prst="rect">
            <a:avLst/>
          </a:prstGeom>
        </p:spPr>
        <p:txBody>
          <a:bodyPr/>
          <a:lstStyle/>
          <a:p>
            <a:r>
              <a:rPr lang="en-US"/>
              <a:t>Click icon to add picture</a:t>
            </a:r>
            <a:endParaRPr lang="en-US" dirty="0"/>
          </a:p>
        </p:txBody>
      </p:sp>
      <p:pic>
        <p:nvPicPr>
          <p:cNvPr id="11" name="Grafik 11"/>
          <p:cNvPicPr>
            <a:picLocks noChangeAspect="1"/>
          </p:cNvPicPr>
          <p:nvPr userDrawn="1"/>
        </p:nvPicPr>
        <p:blipFill rotWithShape="1">
          <a:blip r:embed="rId6">
            <a:extLst>
              <a:ext uri="{28A0092B-C50C-407E-A947-70E740481C1C}">
                <a14:useLocalDpi xmlns:a14="http://schemas.microsoft.com/office/drawing/2010/main" val="0"/>
              </a:ext>
            </a:extLst>
          </a:blip>
          <a:srcRect l="1311" t="29160" r="2494" b="29294"/>
          <a:stretch/>
        </p:blipFill>
        <p:spPr>
          <a:xfrm>
            <a:off x="302367" y="6394337"/>
            <a:ext cx="879528" cy="268274"/>
          </a:xfrm>
          <a:prstGeom prst="rect">
            <a:avLst/>
          </a:prstGeom>
        </p:spPr>
      </p:pic>
      <p:sp>
        <p:nvSpPr>
          <p:cNvPr id="13" name="Inhaltsplatzhalter 19"/>
          <p:cNvSpPr>
            <a:spLocks noGrp="1"/>
          </p:cNvSpPr>
          <p:nvPr>
            <p:ph sz="quarter" idx="17" hasCustomPrompt="1"/>
          </p:nvPr>
        </p:nvSpPr>
        <p:spPr>
          <a:xfrm>
            <a:off x="304744" y="1602842"/>
            <a:ext cx="7848000" cy="4176000"/>
          </a:xfrm>
          <a:prstGeom prst="rect">
            <a:avLst/>
          </a:prstGeom>
        </p:spPr>
        <p:txBody>
          <a:bodyPr/>
          <a:lstStyle>
            <a:lvl1pPr rtl="0">
              <a:defRPr>
                <a:solidFill>
                  <a:schemeClr val="tx1"/>
                </a:solidFill>
              </a:defRPr>
            </a:lvl1pPr>
            <a:lvl2pPr marL="190350" indent="-190350" rtl="0">
              <a:buSzPct val="80000"/>
              <a:buFont typeface="Wingdings 2" panose="05020102010507070707" pitchFamily="18" charset="2"/>
              <a:buChar char=""/>
              <a:defRPr>
                <a:solidFill>
                  <a:schemeClr val="tx1"/>
                </a:solidFill>
              </a:defRPr>
            </a:lvl2pPr>
            <a:lvl3pPr marL="380700" indent="-190350" rtl="0">
              <a:buSzPct val="80000"/>
              <a:buFont typeface="Wingdings 2" panose="05020102010507070707" pitchFamily="18" charset="2"/>
              <a:buChar char=""/>
              <a:defRPr>
                <a:solidFill>
                  <a:schemeClr val="tx1"/>
                </a:solidFill>
              </a:defRPr>
            </a:lvl3pPr>
            <a:lvl4pPr marL="567428" indent="-186345" rtl="0">
              <a:buSzPct val="80000"/>
              <a:buFont typeface="Arial" panose="020B0604020202020204" pitchFamily="34" charset="0"/>
              <a:buChar char="–"/>
              <a:defRPr>
                <a:solidFill>
                  <a:schemeClr val="tx1"/>
                </a:solidFill>
              </a:defRPr>
            </a:lvl4pPr>
            <a:lvl5pPr marL="760488" indent="-193060" rtl="0">
              <a:buSzPct val="80000"/>
              <a:buFont typeface="Arial" panose="020B0604020202020204" pitchFamily="34" charset="0"/>
              <a:buChar char="○"/>
              <a:defRPr>
                <a:solidFill>
                  <a:schemeClr val="tx1"/>
                </a:solidFill>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
          <p:cNvSpPr>
            <a:spLocks noGrp="1"/>
          </p:cNvSpPr>
          <p:nvPr>
            <p:ph type="title" hasCustomPrompt="1"/>
          </p:nvPr>
        </p:nvSpPr>
        <p:spPr>
          <a:xfrm>
            <a:off x="304746" y="540582"/>
            <a:ext cx="7848000" cy="684000"/>
          </a:xfrm>
          <a:prstGeom prst="rect">
            <a:avLst/>
          </a:prstGeom>
        </p:spPr>
        <p:txBody>
          <a:bodyPr vert="horz" wrap="square">
            <a:spAutoFit/>
          </a:bodyPr>
          <a:lstStyle>
            <a:lvl1pPr marL="0" marR="0" indent="0" algn="l" defTabSz="966978" rtl="0" eaLnBrk="1" fontAlgn="auto" latinLnBrk="0" hangingPunct="1">
              <a:lnSpc>
                <a:spcPct val="90000"/>
              </a:lnSpc>
              <a:spcBef>
                <a:spcPct val="0"/>
              </a:spcBef>
              <a:spcAft>
                <a:spcPts val="0"/>
              </a:spcAft>
              <a:buClrTx/>
              <a:buSzTx/>
              <a:buFontTx/>
              <a:buNone/>
              <a:tabLst/>
              <a:defRPr sz="2400">
                <a:solidFill>
                  <a:schemeClr val="tx1"/>
                </a:solidFill>
              </a:defRPr>
            </a:lvl1pPr>
          </a:lstStyle>
          <a:p>
            <a:pPr lvl="0"/>
            <a:r>
              <a:rPr lang="en-US" dirty="0"/>
              <a:t>Action Title</a:t>
            </a:r>
            <a:br>
              <a:rPr lang="en-US" dirty="0"/>
            </a:br>
            <a:r>
              <a:rPr lang="en-US" dirty="0"/>
              <a:t>Arial Bold, 24 </a:t>
            </a:r>
            <a:r>
              <a:rPr lang="en-US" dirty="0" err="1"/>
              <a:t>pt</a:t>
            </a:r>
            <a:endParaRPr lang="en-US" dirty="0"/>
          </a:p>
        </p:txBody>
      </p:sp>
      <p:sp>
        <p:nvSpPr>
          <p:cNvPr id="14" name="Headline_placeholder">
            <a:extLst>
              <a:ext uri="{FF2B5EF4-FFF2-40B4-BE49-F238E27FC236}">
                <a16:creationId xmlns:a16="http://schemas.microsoft.com/office/drawing/2014/main" id="{688AFA18-B7B2-420C-8E32-770FD72DE9BC}"/>
              </a:ext>
            </a:extLst>
          </p:cNvPr>
          <p:cNvSpPr>
            <a:spLocks noGrp="1"/>
          </p:cNvSpPr>
          <p:nvPr>
            <p:ph type="body" sz="quarter" idx="18" hasCustomPrompt="1"/>
          </p:nvPr>
        </p:nvSpPr>
        <p:spPr>
          <a:xfrm>
            <a:off x="304747" y="188095"/>
            <a:ext cx="7848000" cy="180000"/>
          </a:xfrm>
          <a:prstGeom prst="rect">
            <a:avLst/>
          </a:prstGeom>
        </p:spPr>
        <p:txBody>
          <a:bodyPr wrap="square">
            <a:spAutoFit/>
          </a:bodyPr>
          <a:lstStyle>
            <a:lvl1pPr>
              <a:defRPr sz="1100"/>
            </a:lvl1pPr>
          </a:lstStyle>
          <a:p>
            <a:pPr lvl="0"/>
            <a:r>
              <a:rPr lang="en-US" dirty="0"/>
              <a:t>Headline</a:t>
            </a:r>
          </a:p>
        </p:txBody>
      </p:sp>
      <p:sp>
        <p:nvSpPr>
          <p:cNvPr id="15" name="Source_placeholder">
            <a:extLst>
              <a:ext uri="{FF2B5EF4-FFF2-40B4-BE49-F238E27FC236}">
                <a16:creationId xmlns:a16="http://schemas.microsoft.com/office/drawing/2014/main" id="{0AE87BE5-FCEC-407F-9F18-BB295E1DADBF}"/>
              </a:ext>
            </a:extLst>
          </p:cNvPr>
          <p:cNvSpPr>
            <a:spLocks noGrp="1"/>
          </p:cNvSpPr>
          <p:nvPr>
            <p:ph type="body" sz="quarter" idx="21" hasCustomPrompt="1"/>
          </p:nvPr>
        </p:nvSpPr>
        <p:spPr>
          <a:xfrm>
            <a:off x="304747" y="6032861"/>
            <a:ext cx="7848000" cy="144000"/>
          </a:xfrm>
          <a:prstGeom prst="rect">
            <a:avLst/>
          </a:prstGeom>
        </p:spPr>
        <p:txBody>
          <a:bodyPr wrap="square">
            <a:spAutoFit/>
          </a:bodyPr>
          <a:lstStyle>
            <a:lvl1pPr>
              <a:defRPr sz="900" i="1"/>
            </a:lvl1pPr>
          </a:lstStyle>
          <a:p>
            <a:pPr marL="0" marR="0" lvl="0" indent="0" algn="l" defTabSz="483489" rtl="0" eaLnBrk="1" fontAlgn="auto" latinLnBrk="0" hangingPunct="1">
              <a:lnSpc>
                <a:spcPct val="100000"/>
              </a:lnSpc>
              <a:spcBef>
                <a:spcPts val="0"/>
              </a:spcBef>
              <a:spcAft>
                <a:spcPts val="300"/>
              </a:spcAft>
              <a:buClrTx/>
              <a:buSzTx/>
              <a:buFont typeface="Arial" panose="020B0604020202020204" pitchFamily="34" charset="0"/>
              <a:buNone/>
              <a:tabLst/>
              <a:defRPr/>
            </a:pPr>
            <a:r>
              <a:rPr lang="en-US" dirty="0"/>
              <a:t>Source: Arial italic plain, 9 </a:t>
            </a:r>
            <a:r>
              <a:rPr lang="en-US" dirty="0" err="1"/>
              <a:t>pt</a:t>
            </a:r>
            <a:endParaRPr lang="en-US" dirty="0"/>
          </a:p>
        </p:txBody>
      </p:sp>
    </p:spTree>
    <p:extLst>
      <p:ext uri="{BB962C8B-B14F-4D97-AF65-F5344CB8AC3E}">
        <p14:creationId xmlns:p14="http://schemas.microsoft.com/office/powerpoint/2010/main" val="2701265701"/>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5AA976-2FE2-29D1-9CC5-63B80082CE1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E8F255B-00CB-CF2A-A917-CFE56B17FA4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94654AF-5089-6F48-38E9-DF758810F28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94AD6BC-D1E3-3591-859F-84AB87C621AF}"/>
              </a:ext>
            </a:extLst>
          </p:cNvPr>
          <p:cNvSpPr>
            <a:spLocks noGrp="1"/>
          </p:cNvSpPr>
          <p:nvPr>
            <p:ph type="dt" sz="half" idx="10"/>
          </p:nvPr>
        </p:nvSpPr>
        <p:spPr/>
        <p:txBody>
          <a:bodyPr/>
          <a:lstStyle/>
          <a:p>
            <a:fld id="{ADA12347-DBE3-418F-8BB6-59B648B1AE1D}" type="datetimeFigureOut">
              <a:rPr lang="en-US" smtClean="0"/>
              <a:t>9/25/2022</a:t>
            </a:fld>
            <a:endParaRPr lang="en-US"/>
          </a:p>
        </p:txBody>
      </p:sp>
      <p:sp>
        <p:nvSpPr>
          <p:cNvPr id="6" name="Footer Placeholder 5">
            <a:extLst>
              <a:ext uri="{FF2B5EF4-FFF2-40B4-BE49-F238E27FC236}">
                <a16:creationId xmlns:a16="http://schemas.microsoft.com/office/drawing/2014/main" id="{271A83CB-6ADC-9DAF-15D9-960F14BF68C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3AD3BD9-BB7C-F09B-5DBD-3DB9061539F4}"/>
              </a:ext>
            </a:extLst>
          </p:cNvPr>
          <p:cNvSpPr>
            <a:spLocks noGrp="1"/>
          </p:cNvSpPr>
          <p:nvPr>
            <p:ph type="sldNum" sz="quarter" idx="12"/>
          </p:nvPr>
        </p:nvSpPr>
        <p:spPr/>
        <p:txBody>
          <a:bodyPr/>
          <a:lstStyle/>
          <a:p>
            <a:fld id="{2B0AE37F-1DB0-47DB-8054-4F7D5FFC6962}" type="slidenum">
              <a:rPr lang="en-US" smtClean="0"/>
              <a:t>‹#›</a:t>
            </a:fld>
            <a:endParaRPr lang="en-US"/>
          </a:p>
        </p:txBody>
      </p:sp>
    </p:spTree>
    <p:extLst>
      <p:ext uri="{BB962C8B-B14F-4D97-AF65-F5344CB8AC3E}">
        <p14:creationId xmlns:p14="http://schemas.microsoft.com/office/powerpoint/2010/main" val="217477131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Empty Slide With Headline And Action 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764221645"/>
              </p:ext>
            </p:extLst>
          </p:nvPr>
        </p:nvGraphicFramePr>
        <p:xfrm>
          <a:off x="1680" y="1681"/>
          <a:ext cx="1680" cy="1679"/>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Object 1" hidden="1"/>
                      <p:cNvPicPr/>
                      <p:nvPr/>
                    </p:nvPicPr>
                    <p:blipFill>
                      <a:blip r:embed="rId4"/>
                      <a:stretch>
                        <a:fillRect/>
                      </a:stretch>
                    </p:blipFill>
                    <p:spPr>
                      <a:xfrm>
                        <a:off x="1680" y="1681"/>
                        <a:ext cx="1680" cy="1679"/>
                      </a:xfrm>
                      <a:prstGeom prst="rect">
                        <a:avLst/>
                      </a:prstGeom>
                    </p:spPr>
                  </p:pic>
                </p:oleObj>
              </mc:Fallback>
            </mc:AlternateContent>
          </a:graphicData>
        </a:graphic>
      </p:graphicFrame>
      <p:pic>
        <p:nvPicPr>
          <p:cNvPr id="8" name="Grafik 7"/>
          <p:cNvPicPr>
            <a:picLocks noChangeAspect="1"/>
          </p:cNvPicPr>
          <p:nvPr userDrawn="1"/>
        </p:nvPicPr>
        <p:blipFill rotWithShape="1">
          <a:blip r:embed="rId5">
            <a:extLst>
              <a:ext uri="{28A0092B-C50C-407E-A947-70E740481C1C}">
                <a14:useLocalDpi xmlns:a14="http://schemas.microsoft.com/office/drawing/2010/main" val="0"/>
              </a:ext>
            </a:extLst>
          </a:blip>
          <a:srcRect l="1311" t="29160" r="2494" b="29294"/>
          <a:stretch/>
        </p:blipFill>
        <p:spPr>
          <a:xfrm>
            <a:off x="302367" y="6394337"/>
            <a:ext cx="879528" cy="268274"/>
          </a:xfrm>
          <a:prstGeom prst="rect">
            <a:avLst/>
          </a:prstGeom>
        </p:spPr>
      </p:pic>
      <p:sp>
        <p:nvSpPr>
          <p:cNvPr id="9" name="Title 1"/>
          <p:cNvSpPr>
            <a:spLocks noGrp="1"/>
          </p:cNvSpPr>
          <p:nvPr>
            <p:ph type="title" hasCustomPrompt="1"/>
          </p:nvPr>
        </p:nvSpPr>
        <p:spPr>
          <a:xfrm>
            <a:off x="304747" y="540582"/>
            <a:ext cx="11592000" cy="684000"/>
          </a:xfrm>
          <a:prstGeom prst="rect">
            <a:avLst/>
          </a:prstGeom>
        </p:spPr>
        <p:txBody>
          <a:bodyPr vert="horz">
            <a:spAutoFit/>
          </a:bodyPr>
          <a:lstStyle>
            <a:lvl1pPr marL="0" marR="0" indent="0" algn="l" defTabSz="966978" rtl="0" eaLnBrk="1" fontAlgn="auto" latinLnBrk="0" hangingPunct="1">
              <a:lnSpc>
                <a:spcPct val="90000"/>
              </a:lnSpc>
              <a:spcBef>
                <a:spcPct val="0"/>
              </a:spcBef>
              <a:spcAft>
                <a:spcPts val="0"/>
              </a:spcAft>
              <a:buClrTx/>
              <a:buSzTx/>
              <a:buFontTx/>
              <a:buNone/>
              <a:tabLst/>
              <a:defRPr sz="2400">
                <a:solidFill>
                  <a:schemeClr val="tx1"/>
                </a:solidFill>
              </a:defRPr>
            </a:lvl1pPr>
          </a:lstStyle>
          <a:p>
            <a:pPr lvl="0"/>
            <a:r>
              <a:rPr lang="en-US" dirty="0"/>
              <a:t>Action Title</a:t>
            </a:r>
            <a:br>
              <a:rPr lang="en-US" dirty="0"/>
            </a:br>
            <a:r>
              <a:rPr lang="en-US" dirty="0"/>
              <a:t>Arial Bold, 24 </a:t>
            </a:r>
            <a:r>
              <a:rPr lang="en-US" dirty="0" err="1"/>
              <a:t>pt</a:t>
            </a:r>
            <a:endParaRPr lang="en-US" dirty="0"/>
          </a:p>
        </p:txBody>
      </p:sp>
      <p:sp>
        <p:nvSpPr>
          <p:cNvPr id="7" name="Headline_placeholder">
            <a:extLst>
              <a:ext uri="{FF2B5EF4-FFF2-40B4-BE49-F238E27FC236}">
                <a16:creationId xmlns:a16="http://schemas.microsoft.com/office/drawing/2014/main" id="{F8BA8785-EFE1-4062-8EA2-F8101E032639}"/>
              </a:ext>
            </a:extLst>
          </p:cNvPr>
          <p:cNvSpPr>
            <a:spLocks noGrp="1"/>
          </p:cNvSpPr>
          <p:nvPr>
            <p:ph type="body" sz="quarter" idx="14" hasCustomPrompt="1"/>
          </p:nvPr>
        </p:nvSpPr>
        <p:spPr>
          <a:xfrm>
            <a:off x="304747" y="188095"/>
            <a:ext cx="11592000" cy="180000"/>
          </a:xfrm>
          <a:prstGeom prst="rect">
            <a:avLst/>
          </a:prstGeom>
        </p:spPr>
        <p:txBody>
          <a:bodyPr>
            <a:spAutoFit/>
          </a:bodyPr>
          <a:lstStyle>
            <a:lvl1pPr>
              <a:defRPr sz="1100"/>
            </a:lvl1pPr>
          </a:lstStyle>
          <a:p>
            <a:pPr lvl="0"/>
            <a:r>
              <a:rPr lang="en-US" dirty="0"/>
              <a:t>Headline</a:t>
            </a:r>
          </a:p>
        </p:txBody>
      </p:sp>
      <p:sp>
        <p:nvSpPr>
          <p:cNvPr id="10" name="Source_placeholder">
            <a:extLst>
              <a:ext uri="{FF2B5EF4-FFF2-40B4-BE49-F238E27FC236}">
                <a16:creationId xmlns:a16="http://schemas.microsoft.com/office/drawing/2014/main" id="{C08EA533-4B21-45BE-923C-422B829C9C7D}"/>
              </a:ext>
            </a:extLst>
          </p:cNvPr>
          <p:cNvSpPr>
            <a:spLocks noGrp="1"/>
          </p:cNvSpPr>
          <p:nvPr>
            <p:ph type="body" sz="quarter" idx="21" hasCustomPrompt="1"/>
          </p:nvPr>
        </p:nvSpPr>
        <p:spPr>
          <a:xfrm>
            <a:off x="304747" y="6032861"/>
            <a:ext cx="11592000" cy="144000"/>
          </a:xfrm>
          <a:prstGeom prst="rect">
            <a:avLst/>
          </a:prstGeom>
        </p:spPr>
        <p:txBody>
          <a:bodyPr>
            <a:spAutoFit/>
          </a:bodyPr>
          <a:lstStyle>
            <a:lvl1pPr>
              <a:defRPr sz="900" i="1"/>
            </a:lvl1pPr>
          </a:lstStyle>
          <a:p>
            <a:pPr marL="0" marR="0" lvl="0" indent="0" algn="l" defTabSz="483489" rtl="0" eaLnBrk="1" fontAlgn="auto" latinLnBrk="0" hangingPunct="1">
              <a:lnSpc>
                <a:spcPct val="100000"/>
              </a:lnSpc>
              <a:spcBef>
                <a:spcPts val="0"/>
              </a:spcBef>
              <a:spcAft>
                <a:spcPts val="300"/>
              </a:spcAft>
              <a:buClrTx/>
              <a:buSzTx/>
              <a:buFont typeface="Arial" panose="020B0604020202020204" pitchFamily="34" charset="0"/>
              <a:buNone/>
              <a:tabLst/>
              <a:defRPr/>
            </a:pPr>
            <a:r>
              <a:rPr lang="en-US" dirty="0"/>
              <a:t>Source: Arial italic plain, 9 </a:t>
            </a:r>
            <a:r>
              <a:rPr lang="en-US" dirty="0" err="1"/>
              <a:t>pt</a:t>
            </a:r>
            <a:endParaRPr lang="en-US" dirty="0"/>
          </a:p>
        </p:txBody>
      </p:sp>
    </p:spTree>
    <p:extLst>
      <p:ext uri="{BB962C8B-B14F-4D97-AF65-F5344CB8AC3E}">
        <p14:creationId xmlns:p14="http://schemas.microsoft.com/office/powerpoint/2010/main" val="106422523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Empty Slide With Headline And Action Title without Log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5729129"/>
              </p:ext>
            </p:extLst>
          </p:nvPr>
        </p:nvGraphicFramePr>
        <p:xfrm>
          <a:off x="1680" y="1681"/>
          <a:ext cx="1680" cy="1679"/>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Object 1" hidden="1"/>
                      <p:cNvPicPr/>
                      <p:nvPr/>
                    </p:nvPicPr>
                    <p:blipFill>
                      <a:blip r:embed="rId4"/>
                      <a:stretch>
                        <a:fillRect/>
                      </a:stretch>
                    </p:blipFill>
                    <p:spPr>
                      <a:xfrm>
                        <a:off x="1680" y="1681"/>
                        <a:ext cx="1680" cy="1679"/>
                      </a:xfrm>
                      <a:prstGeom prst="rect">
                        <a:avLst/>
                      </a:prstGeom>
                    </p:spPr>
                  </p:pic>
                </p:oleObj>
              </mc:Fallback>
            </mc:AlternateContent>
          </a:graphicData>
        </a:graphic>
      </p:graphicFrame>
      <p:sp>
        <p:nvSpPr>
          <p:cNvPr id="6" name="Title 1"/>
          <p:cNvSpPr>
            <a:spLocks noGrp="1"/>
          </p:cNvSpPr>
          <p:nvPr>
            <p:ph type="title" hasCustomPrompt="1"/>
          </p:nvPr>
        </p:nvSpPr>
        <p:spPr>
          <a:xfrm>
            <a:off x="304747" y="540582"/>
            <a:ext cx="11592000" cy="684000"/>
          </a:xfrm>
          <a:prstGeom prst="rect">
            <a:avLst/>
          </a:prstGeom>
        </p:spPr>
        <p:txBody>
          <a:bodyPr vert="horz">
            <a:spAutoFit/>
          </a:bodyPr>
          <a:lstStyle>
            <a:lvl1pPr marL="0" marR="0" indent="0" algn="l" defTabSz="966978" rtl="0" eaLnBrk="1" fontAlgn="auto" latinLnBrk="0" hangingPunct="1">
              <a:lnSpc>
                <a:spcPct val="90000"/>
              </a:lnSpc>
              <a:spcBef>
                <a:spcPct val="0"/>
              </a:spcBef>
              <a:spcAft>
                <a:spcPts val="0"/>
              </a:spcAft>
              <a:buClrTx/>
              <a:buSzTx/>
              <a:buFontTx/>
              <a:buNone/>
              <a:tabLst/>
              <a:defRPr sz="2400">
                <a:solidFill>
                  <a:schemeClr val="tx1"/>
                </a:solidFill>
              </a:defRPr>
            </a:lvl1pPr>
          </a:lstStyle>
          <a:p>
            <a:pPr lvl="0"/>
            <a:r>
              <a:rPr lang="en-US" dirty="0"/>
              <a:t>Action Title</a:t>
            </a:r>
            <a:br>
              <a:rPr lang="en-US" dirty="0"/>
            </a:br>
            <a:r>
              <a:rPr lang="en-US" dirty="0"/>
              <a:t>Arial Bold, 24 </a:t>
            </a:r>
            <a:r>
              <a:rPr lang="en-US" dirty="0" err="1"/>
              <a:t>pt</a:t>
            </a:r>
            <a:endParaRPr lang="en-US" dirty="0"/>
          </a:p>
        </p:txBody>
      </p:sp>
      <p:sp>
        <p:nvSpPr>
          <p:cNvPr id="7" name="Headline_placeholder">
            <a:extLst>
              <a:ext uri="{FF2B5EF4-FFF2-40B4-BE49-F238E27FC236}">
                <a16:creationId xmlns:a16="http://schemas.microsoft.com/office/drawing/2014/main" id="{84F9A062-95E8-4662-A14E-EAA09A893572}"/>
              </a:ext>
            </a:extLst>
          </p:cNvPr>
          <p:cNvSpPr>
            <a:spLocks noGrp="1"/>
          </p:cNvSpPr>
          <p:nvPr>
            <p:ph type="body" sz="quarter" idx="14" hasCustomPrompt="1"/>
          </p:nvPr>
        </p:nvSpPr>
        <p:spPr>
          <a:xfrm>
            <a:off x="304747" y="188095"/>
            <a:ext cx="11592000" cy="180000"/>
          </a:xfrm>
          <a:prstGeom prst="rect">
            <a:avLst/>
          </a:prstGeom>
        </p:spPr>
        <p:txBody>
          <a:bodyPr>
            <a:spAutoFit/>
          </a:bodyPr>
          <a:lstStyle>
            <a:lvl1pPr>
              <a:defRPr sz="1100"/>
            </a:lvl1pPr>
          </a:lstStyle>
          <a:p>
            <a:pPr lvl="0"/>
            <a:r>
              <a:rPr lang="en-US" dirty="0"/>
              <a:t>Headline</a:t>
            </a:r>
          </a:p>
        </p:txBody>
      </p:sp>
      <p:sp>
        <p:nvSpPr>
          <p:cNvPr id="8" name="Source_placeholder">
            <a:extLst>
              <a:ext uri="{FF2B5EF4-FFF2-40B4-BE49-F238E27FC236}">
                <a16:creationId xmlns:a16="http://schemas.microsoft.com/office/drawing/2014/main" id="{6EAC6E09-2C97-4045-BD24-96F63564BDD5}"/>
              </a:ext>
            </a:extLst>
          </p:cNvPr>
          <p:cNvSpPr>
            <a:spLocks noGrp="1"/>
          </p:cNvSpPr>
          <p:nvPr>
            <p:ph type="body" sz="quarter" idx="21" hasCustomPrompt="1"/>
          </p:nvPr>
        </p:nvSpPr>
        <p:spPr>
          <a:xfrm>
            <a:off x="304747" y="6032861"/>
            <a:ext cx="11592000" cy="144000"/>
          </a:xfrm>
          <a:prstGeom prst="rect">
            <a:avLst/>
          </a:prstGeom>
        </p:spPr>
        <p:txBody>
          <a:bodyPr>
            <a:spAutoFit/>
          </a:bodyPr>
          <a:lstStyle>
            <a:lvl1pPr>
              <a:defRPr sz="900" i="1"/>
            </a:lvl1pPr>
          </a:lstStyle>
          <a:p>
            <a:pPr marL="0" marR="0" lvl="0" indent="0" algn="l" defTabSz="483489" rtl="0" eaLnBrk="1" fontAlgn="auto" latinLnBrk="0" hangingPunct="1">
              <a:lnSpc>
                <a:spcPct val="100000"/>
              </a:lnSpc>
              <a:spcBef>
                <a:spcPts val="0"/>
              </a:spcBef>
              <a:spcAft>
                <a:spcPts val="300"/>
              </a:spcAft>
              <a:buClrTx/>
              <a:buSzTx/>
              <a:buFont typeface="Arial" panose="020B0604020202020204" pitchFamily="34" charset="0"/>
              <a:buNone/>
              <a:tabLst/>
              <a:defRPr/>
            </a:pPr>
            <a:r>
              <a:rPr lang="en-US" dirty="0"/>
              <a:t>Source: Arial italic plain, 9 </a:t>
            </a:r>
            <a:r>
              <a:rPr lang="en-US" dirty="0" err="1"/>
              <a:t>pt</a:t>
            </a:r>
            <a:endParaRPr lang="en-US" dirty="0"/>
          </a:p>
        </p:txBody>
      </p:sp>
    </p:spTree>
    <p:extLst>
      <p:ext uri="{BB962C8B-B14F-4D97-AF65-F5344CB8AC3E}">
        <p14:creationId xmlns:p14="http://schemas.microsoft.com/office/powerpoint/2010/main" val="321678604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512659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Empty Slide With Headline And Action 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15217097"/>
              </p:ext>
            </p:extLst>
          </p:nvPr>
        </p:nvGraphicFramePr>
        <p:xfrm>
          <a:off x="1680" y="1681"/>
          <a:ext cx="1680" cy="1679"/>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Object 1" hidden="1"/>
                      <p:cNvPicPr/>
                      <p:nvPr/>
                    </p:nvPicPr>
                    <p:blipFill>
                      <a:blip r:embed="rId4"/>
                      <a:stretch>
                        <a:fillRect/>
                      </a:stretch>
                    </p:blipFill>
                    <p:spPr>
                      <a:xfrm>
                        <a:off x="1680" y="1681"/>
                        <a:ext cx="1680" cy="1679"/>
                      </a:xfrm>
                      <a:prstGeom prst="rect">
                        <a:avLst/>
                      </a:prstGeom>
                    </p:spPr>
                  </p:pic>
                </p:oleObj>
              </mc:Fallback>
            </mc:AlternateContent>
          </a:graphicData>
        </a:graphic>
      </p:graphicFrame>
      <p:pic>
        <p:nvPicPr>
          <p:cNvPr id="8" name="Grafik 7"/>
          <p:cNvPicPr>
            <a:picLocks noChangeAspect="1"/>
          </p:cNvPicPr>
          <p:nvPr userDrawn="1"/>
        </p:nvPicPr>
        <p:blipFill rotWithShape="1">
          <a:blip r:embed="rId5">
            <a:extLst>
              <a:ext uri="{28A0092B-C50C-407E-A947-70E740481C1C}">
                <a14:useLocalDpi xmlns:a14="http://schemas.microsoft.com/office/drawing/2010/main" val="0"/>
              </a:ext>
            </a:extLst>
          </a:blip>
          <a:srcRect l="1311" t="29160" r="2494" b="29294"/>
          <a:stretch/>
        </p:blipFill>
        <p:spPr>
          <a:xfrm>
            <a:off x="302367" y="6394337"/>
            <a:ext cx="879528" cy="268274"/>
          </a:xfrm>
          <a:prstGeom prst="rect">
            <a:avLst/>
          </a:prstGeom>
        </p:spPr>
      </p:pic>
      <p:sp>
        <p:nvSpPr>
          <p:cNvPr id="9" name="Title 1"/>
          <p:cNvSpPr>
            <a:spLocks noGrp="1"/>
          </p:cNvSpPr>
          <p:nvPr>
            <p:ph type="title" hasCustomPrompt="1"/>
          </p:nvPr>
        </p:nvSpPr>
        <p:spPr>
          <a:xfrm>
            <a:off x="304747" y="540582"/>
            <a:ext cx="11592000" cy="684000"/>
          </a:xfrm>
          <a:prstGeom prst="rect">
            <a:avLst/>
          </a:prstGeom>
        </p:spPr>
        <p:txBody>
          <a:bodyPr vert="horz">
            <a:spAutoFit/>
          </a:bodyPr>
          <a:lstStyle>
            <a:lvl1pPr marL="0" marR="0" indent="0" algn="l" defTabSz="966978" rtl="0" eaLnBrk="1" fontAlgn="auto" latinLnBrk="0" hangingPunct="1">
              <a:lnSpc>
                <a:spcPct val="90000"/>
              </a:lnSpc>
              <a:spcBef>
                <a:spcPct val="0"/>
              </a:spcBef>
              <a:spcAft>
                <a:spcPts val="0"/>
              </a:spcAft>
              <a:buClrTx/>
              <a:buSzTx/>
              <a:buFontTx/>
              <a:buNone/>
              <a:tabLst/>
              <a:defRPr sz="2400">
                <a:solidFill>
                  <a:schemeClr val="tx1"/>
                </a:solidFill>
              </a:defRPr>
            </a:lvl1pPr>
          </a:lstStyle>
          <a:p>
            <a:pPr lvl="0"/>
            <a:r>
              <a:rPr lang="en-US" dirty="0"/>
              <a:t>Action Title</a:t>
            </a:r>
            <a:br>
              <a:rPr lang="en-US" dirty="0"/>
            </a:br>
            <a:r>
              <a:rPr lang="en-US" dirty="0"/>
              <a:t>Arial Bold, 24 </a:t>
            </a:r>
            <a:r>
              <a:rPr lang="en-US" dirty="0" err="1"/>
              <a:t>pt</a:t>
            </a:r>
            <a:endParaRPr lang="en-US" dirty="0"/>
          </a:p>
        </p:txBody>
      </p:sp>
      <p:sp>
        <p:nvSpPr>
          <p:cNvPr id="7" name="Headline_placeholder">
            <a:extLst>
              <a:ext uri="{FF2B5EF4-FFF2-40B4-BE49-F238E27FC236}">
                <a16:creationId xmlns:a16="http://schemas.microsoft.com/office/drawing/2014/main" id="{52127E3D-5E83-48B1-9AEC-7F6CFE6E621B}"/>
              </a:ext>
            </a:extLst>
          </p:cNvPr>
          <p:cNvSpPr>
            <a:spLocks noGrp="1"/>
          </p:cNvSpPr>
          <p:nvPr>
            <p:ph type="body" sz="quarter" idx="14" hasCustomPrompt="1"/>
          </p:nvPr>
        </p:nvSpPr>
        <p:spPr>
          <a:xfrm>
            <a:off x="304747" y="188095"/>
            <a:ext cx="11592000" cy="180000"/>
          </a:xfrm>
          <a:prstGeom prst="rect">
            <a:avLst/>
          </a:prstGeom>
        </p:spPr>
        <p:txBody>
          <a:bodyPr>
            <a:spAutoFit/>
          </a:bodyPr>
          <a:lstStyle>
            <a:lvl1pPr>
              <a:defRPr sz="1100"/>
            </a:lvl1pPr>
          </a:lstStyle>
          <a:p>
            <a:pPr lvl="0"/>
            <a:r>
              <a:rPr lang="en-US" dirty="0"/>
              <a:t>Headline</a:t>
            </a:r>
          </a:p>
        </p:txBody>
      </p:sp>
      <p:sp>
        <p:nvSpPr>
          <p:cNvPr id="10" name="Source_placeholder">
            <a:extLst>
              <a:ext uri="{FF2B5EF4-FFF2-40B4-BE49-F238E27FC236}">
                <a16:creationId xmlns:a16="http://schemas.microsoft.com/office/drawing/2014/main" id="{2223B519-5A07-4568-81CB-CE8E782A4543}"/>
              </a:ext>
            </a:extLst>
          </p:cNvPr>
          <p:cNvSpPr>
            <a:spLocks noGrp="1"/>
          </p:cNvSpPr>
          <p:nvPr>
            <p:ph type="body" sz="quarter" idx="15" hasCustomPrompt="1"/>
          </p:nvPr>
        </p:nvSpPr>
        <p:spPr>
          <a:xfrm>
            <a:off x="304747" y="6032861"/>
            <a:ext cx="11592000" cy="144000"/>
          </a:xfrm>
          <a:prstGeom prst="rect">
            <a:avLst/>
          </a:prstGeom>
        </p:spPr>
        <p:txBody>
          <a:bodyPr>
            <a:spAutoFit/>
          </a:bodyPr>
          <a:lstStyle>
            <a:lvl1pPr>
              <a:defRPr sz="900" i="1"/>
            </a:lvl1pPr>
          </a:lstStyle>
          <a:p>
            <a:pPr marL="0" marR="0" lvl="0" indent="0" algn="l" defTabSz="483489" rtl="0" eaLnBrk="1" fontAlgn="auto" latinLnBrk="0" hangingPunct="1">
              <a:lnSpc>
                <a:spcPct val="100000"/>
              </a:lnSpc>
              <a:spcBef>
                <a:spcPts val="0"/>
              </a:spcBef>
              <a:spcAft>
                <a:spcPts val="300"/>
              </a:spcAft>
              <a:buClrTx/>
              <a:buSzTx/>
              <a:buFont typeface="Arial" panose="020B0604020202020204" pitchFamily="34" charset="0"/>
              <a:buNone/>
              <a:tabLst/>
              <a:defRPr/>
            </a:pPr>
            <a:r>
              <a:rPr lang="en-US" dirty="0"/>
              <a:t>Source: Arial italic plain, 9 </a:t>
            </a:r>
            <a:r>
              <a:rPr lang="en-US" dirty="0" err="1"/>
              <a:t>pt</a:t>
            </a:r>
            <a:endParaRPr lang="en-US" dirty="0"/>
          </a:p>
        </p:txBody>
      </p:sp>
    </p:spTree>
    <p:extLst>
      <p:ext uri="{BB962C8B-B14F-4D97-AF65-F5344CB8AC3E}">
        <p14:creationId xmlns:p14="http://schemas.microsoft.com/office/powerpoint/2010/main" val="30844731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0E5181-D545-3BFE-1D0E-85D59D39759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DF0260F-AFB5-F6E5-E225-DE35AFFD220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1407930-CA37-3484-E5CC-4AB6C16FA0C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25CA0E8-E405-37E6-4025-AE6B0E5E5F5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4C8650F-8050-BB54-B013-F241772348B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621E2FC-02FC-34B9-545E-8AD5EF37C53E}"/>
              </a:ext>
            </a:extLst>
          </p:cNvPr>
          <p:cNvSpPr>
            <a:spLocks noGrp="1"/>
          </p:cNvSpPr>
          <p:nvPr>
            <p:ph type="dt" sz="half" idx="10"/>
          </p:nvPr>
        </p:nvSpPr>
        <p:spPr/>
        <p:txBody>
          <a:bodyPr/>
          <a:lstStyle/>
          <a:p>
            <a:fld id="{ADA12347-DBE3-418F-8BB6-59B648B1AE1D}" type="datetimeFigureOut">
              <a:rPr lang="en-US" smtClean="0"/>
              <a:t>9/25/2022</a:t>
            </a:fld>
            <a:endParaRPr lang="en-US"/>
          </a:p>
        </p:txBody>
      </p:sp>
      <p:sp>
        <p:nvSpPr>
          <p:cNvPr id="8" name="Footer Placeholder 7">
            <a:extLst>
              <a:ext uri="{FF2B5EF4-FFF2-40B4-BE49-F238E27FC236}">
                <a16:creationId xmlns:a16="http://schemas.microsoft.com/office/drawing/2014/main" id="{D370BF30-2433-0651-FF52-BFAC235388B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A9E2AA5-98A7-2F20-2743-BDB22EFBA35C}"/>
              </a:ext>
            </a:extLst>
          </p:cNvPr>
          <p:cNvSpPr>
            <a:spLocks noGrp="1"/>
          </p:cNvSpPr>
          <p:nvPr>
            <p:ph type="sldNum" sz="quarter" idx="12"/>
          </p:nvPr>
        </p:nvSpPr>
        <p:spPr/>
        <p:txBody>
          <a:bodyPr/>
          <a:lstStyle/>
          <a:p>
            <a:fld id="{2B0AE37F-1DB0-47DB-8054-4F7D5FFC6962}" type="slidenum">
              <a:rPr lang="en-US" smtClean="0"/>
              <a:t>‹#›</a:t>
            </a:fld>
            <a:endParaRPr lang="en-US"/>
          </a:p>
        </p:txBody>
      </p:sp>
    </p:spTree>
    <p:extLst>
      <p:ext uri="{BB962C8B-B14F-4D97-AF65-F5344CB8AC3E}">
        <p14:creationId xmlns:p14="http://schemas.microsoft.com/office/powerpoint/2010/main" val="930766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89C25-4386-5C74-07E8-29BA73E5B90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9257EC0-BC12-5B2E-BFDE-620A95684541}"/>
              </a:ext>
            </a:extLst>
          </p:cNvPr>
          <p:cNvSpPr>
            <a:spLocks noGrp="1"/>
          </p:cNvSpPr>
          <p:nvPr>
            <p:ph type="dt" sz="half" idx="10"/>
          </p:nvPr>
        </p:nvSpPr>
        <p:spPr/>
        <p:txBody>
          <a:bodyPr/>
          <a:lstStyle/>
          <a:p>
            <a:fld id="{ADA12347-DBE3-418F-8BB6-59B648B1AE1D}" type="datetimeFigureOut">
              <a:rPr lang="en-US" smtClean="0"/>
              <a:t>9/25/2022</a:t>
            </a:fld>
            <a:endParaRPr lang="en-US"/>
          </a:p>
        </p:txBody>
      </p:sp>
      <p:sp>
        <p:nvSpPr>
          <p:cNvPr id="4" name="Footer Placeholder 3">
            <a:extLst>
              <a:ext uri="{FF2B5EF4-FFF2-40B4-BE49-F238E27FC236}">
                <a16:creationId xmlns:a16="http://schemas.microsoft.com/office/drawing/2014/main" id="{C54C0021-9EBB-0F16-2DDA-639D6A6AA8C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FAA248A-B229-B067-F97C-3AE12E228291}"/>
              </a:ext>
            </a:extLst>
          </p:cNvPr>
          <p:cNvSpPr>
            <a:spLocks noGrp="1"/>
          </p:cNvSpPr>
          <p:nvPr>
            <p:ph type="sldNum" sz="quarter" idx="12"/>
          </p:nvPr>
        </p:nvSpPr>
        <p:spPr/>
        <p:txBody>
          <a:bodyPr/>
          <a:lstStyle/>
          <a:p>
            <a:fld id="{2B0AE37F-1DB0-47DB-8054-4F7D5FFC6962}" type="slidenum">
              <a:rPr lang="en-US" smtClean="0"/>
              <a:t>‹#›</a:t>
            </a:fld>
            <a:endParaRPr lang="en-US"/>
          </a:p>
        </p:txBody>
      </p:sp>
    </p:spTree>
    <p:extLst>
      <p:ext uri="{BB962C8B-B14F-4D97-AF65-F5344CB8AC3E}">
        <p14:creationId xmlns:p14="http://schemas.microsoft.com/office/powerpoint/2010/main" val="4784350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77B1F1F-D6DA-D02B-6BF2-77B4A7340693}"/>
              </a:ext>
            </a:extLst>
          </p:cNvPr>
          <p:cNvSpPr>
            <a:spLocks noGrp="1"/>
          </p:cNvSpPr>
          <p:nvPr>
            <p:ph type="dt" sz="half" idx="10"/>
          </p:nvPr>
        </p:nvSpPr>
        <p:spPr/>
        <p:txBody>
          <a:bodyPr/>
          <a:lstStyle/>
          <a:p>
            <a:fld id="{ADA12347-DBE3-418F-8BB6-59B648B1AE1D}" type="datetimeFigureOut">
              <a:rPr lang="en-US" smtClean="0"/>
              <a:t>9/25/2022</a:t>
            </a:fld>
            <a:endParaRPr lang="en-US"/>
          </a:p>
        </p:txBody>
      </p:sp>
      <p:sp>
        <p:nvSpPr>
          <p:cNvPr id="3" name="Footer Placeholder 2">
            <a:extLst>
              <a:ext uri="{FF2B5EF4-FFF2-40B4-BE49-F238E27FC236}">
                <a16:creationId xmlns:a16="http://schemas.microsoft.com/office/drawing/2014/main" id="{1F5650FD-593E-64AD-C2D4-F5CD1EA17F2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5C13AB0-E1A5-E0BE-2A41-47FD6DF28E34}"/>
              </a:ext>
            </a:extLst>
          </p:cNvPr>
          <p:cNvSpPr>
            <a:spLocks noGrp="1"/>
          </p:cNvSpPr>
          <p:nvPr>
            <p:ph type="sldNum" sz="quarter" idx="12"/>
          </p:nvPr>
        </p:nvSpPr>
        <p:spPr/>
        <p:txBody>
          <a:bodyPr/>
          <a:lstStyle/>
          <a:p>
            <a:fld id="{2B0AE37F-1DB0-47DB-8054-4F7D5FFC6962}" type="slidenum">
              <a:rPr lang="en-US" smtClean="0"/>
              <a:t>‹#›</a:t>
            </a:fld>
            <a:endParaRPr lang="en-US"/>
          </a:p>
        </p:txBody>
      </p:sp>
    </p:spTree>
    <p:extLst>
      <p:ext uri="{BB962C8B-B14F-4D97-AF65-F5344CB8AC3E}">
        <p14:creationId xmlns:p14="http://schemas.microsoft.com/office/powerpoint/2010/main" val="32855654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DADCAB-5B58-987E-0B24-C16BF8A891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9250AD1-586E-7D15-5C7D-2332A451E44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ECD7983-57D1-EE6D-E7BE-A87BB9E87A3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90B56B5-7A30-F97C-31C8-E86C5D876CC2}"/>
              </a:ext>
            </a:extLst>
          </p:cNvPr>
          <p:cNvSpPr>
            <a:spLocks noGrp="1"/>
          </p:cNvSpPr>
          <p:nvPr>
            <p:ph type="dt" sz="half" idx="10"/>
          </p:nvPr>
        </p:nvSpPr>
        <p:spPr/>
        <p:txBody>
          <a:bodyPr/>
          <a:lstStyle/>
          <a:p>
            <a:fld id="{ADA12347-DBE3-418F-8BB6-59B648B1AE1D}" type="datetimeFigureOut">
              <a:rPr lang="en-US" smtClean="0"/>
              <a:t>9/25/2022</a:t>
            </a:fld>
            <a:endParaRPr lang="en-US"/>
          </a:p>
        </p:txBody>
      </p:sp>
      <p:sp>
        <p:nvSpPr>
          <p:cNvPr id="6" name="Footer Placeholder 5">
            <a:extLst>
              <a:ext uri="{FF2B5EF4-FFF2-40B4-BE49-F238E27FC236}">
                <a16:creationId xmlns:a16="http://schemas.microsoft.com/office/drawing/2014/main" id="{BF24330F-7AF0-7D54-0CFD-957CEA9EDAF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F629309-40F0-8E58-F9EF-98D19B8F2272}"/>
              </a:ext>
            </a:extLst>
          </p:cNvPr>
          <p:cNvSpPr>
            <a:spLocks noGrp="1"/>
          </p:cNvSpPr>
          <p:nvPr>
            <p:ph type="sldNum" sz="quarter" idx="12"/>
          </p:nvPr>
        </p:nvSpPr>
        <p:spPr/>
        <p:txBody>
          <a:bodyPr/>
          <a:lstStyle/>
          <a:p>
            <a:fld id="{2B0AE37F-1DB0-47DB-8054-4F7D5FFC6962}" type="slidenum">
              <a:rPr lang="en-US" smtClean="0"/>
              <a:t>‹#›</a:t>
            </a:fld>
            <a:endParaRPr lang="en-US"/>
          </a:p>
        </p:txBody>
      </p:sp>
    </p:spTree>
    <p:extLst>
      <p:ext uri="{BB962C8B-B14F-4D97-AF65-F5344CB8AC3E}">
        <p14:creationId xmlns:p14="http://schemas.microsoft.com/office/powerpoint/2010/main" val="23235148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171564-CE5D-0E28-DC7A-029AD97F8F6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F2A7645-8EC2-40B5-5FFC-73A89DF8CC1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AFD2243-2430-055B-54F1-4227CC4CAC9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A82EA30-98E7-EE0A-D34E-632B795DFE45}"/>
              </a:ext>
            </a:extLst>
          </p:cNvPr>
          <p:cNvSpPr>
            <a:spLocks noGrp="1"/>
          </p:cNvSpPr>
          <p:nvPr>
            <p:ph type="dt" sz="half" idx="10"/>
          </p:nvPr>
        </p:nvSpPr>
        <p:spPr/>
        <p:txBody>
          <a:bodyPr/>
          <a:lstStyle/>
          <a:p>
            <a:fld id="{ADA12347-DBE3-418F-8BB6-59B648B1AE1D}" type="datetimeFigureOut">
              <a:rPr lang="en-US" smtClean="0"/>
              <a:t>9/25/2022</a:t>
            </a:fld>
            <a:endParaRPr lang="en-US"/>
          </a:p>
        </p:txBody>
      </p:sp>
      <p:sp>
        <p:nvSpPr>
          <p:cNvPr id="6" name="Footer Placeholder 5">
            <a:extLst>
              <a:ext uri="{FF2B5EF4-FFF2-40B4-BE49-F238E27FC236}">
                <a16:creationId xmlns:a16="http://schemas.microsoft.com/office/drawing/2014/main" id="{D716B896-FE80-379A-4FF3-133B747A8C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2B88098-8291-8C67-1BBF-511C9A556BD2}"/>
              </a:ext>
            </a:extLst>
          </p:cNvPr>
          <p:cNvSpPr>
            <a:spLocks noGrp="1"/>
          </p:cNvSpPr>
          <p:nvPr>
            <p:ph type="sldNum" sz="quarter" idx="12"/>
          </p:nvPr>
        </p:nvSpPr>
        <p:spPr/>
        <p:txBody>
          <a:bodyPr/>
          <a:lstStyle/>
          <a:p>
            <a:fld id="{2B0AE37F-1DB0-47DB-8054-4F7D5FFC6962}" type="slidenum">
              <a:rPr lang="en-US" smtClean="0"/>
              <a:t>‹#›</a:t>
            </a:fld>
            <a:endParaRPr lang="en-US"/>
          </a:p>
        </p:txBody>
      </p:sp>
    </p:spTree>
    <p:extLst>
      <p:ext uri="{BB962C8B-B14F-4D97-AF65-F5344CB8AC3E}">
        <p14:creationId xmlns:p14="http://schemas.microsoft.com/office/powerpoint/2010/main" val="1819726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tags" Target="../tags/tag2.xml"/><Relationship Id="rId3" Type="http://schemas.openxmlformats.org/officeDocument/2006/relationships/slideLayout" Target="../slideLayouts/slideLayout14.xml"/><Relationship Id="rId21" Type="http://schemas.openxmlformats.org/officeDocument/2006/relationships/image" Target="../media/image2.emf"/><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tags" Target="../tags/tag1.xml"/><Relationship Id="rId2" Type="http://schemas.openxmlformats.org/officeDocument/2006/relationships/slideLayout" Target="../slideLayouts/slideLayout13.xml"/><Relationship Id="rId16" Type="http://schemas.openxmlformats.org/officeDocument/2006/relationships/theme" Target="../theme/theme2.xml"/><Relationship Id="rId20" Type="http://schemas.openxmlformats.org/officeDocument/2006/relationships/oleObject" Target="../embeddings/oleObject1.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19" Type="http://schemas.openxmlformats.org/officeDocument/2006/relationships/image" Target="../media/image1.jpg"/><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theme" Target="../theme/theme3.xml"/><Relationship Id="rId3" Type="http://schemas.openxmlformats.org/officeDocument/2006/relationships/slideLayout" Target="../slideLayouts/slideLayout29.xml"/><Relationship Id="rId21" Type="http://schemas.openxmlformats.org/officeDocument/2006/relationships/oleObject" Target="../embeddings/oleObject15.bin"/><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tags" Target="../tags/tag1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10" Type="http://schemas.openxmlformats.org/officeDocument/2006/relationships/slideLayout" Target="../slideLayouts/slideLayout36.xml"/><Relationship Id="rId19" Type="http://schemas.openxmlformats.org/officeDocument/2006/relationships/tags" Target="../tags/tag17.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FC563C5-7AD1-BF53-972F-CDC6B987988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62AA2B8-89A2-7A46-D640-F3EFF6CF6E8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E03384E-BD0D-8D9F-9EED-81F9FE2C0E5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DA12347-DBE3-418F-8BB6-59B648B1AE1D}" type="datetimeFigureOut">
              <a:rPr lang="en-US" smtClean="0"/>
              <a:t>9/25/2022</a:t>
            </a:fld>
            <a:endParaRPr lang="en-US"/>
          </a:p>
        </p:txBody>
      </p:sp>
      <p:sp>
        <p:nvSpPr>
          <p:cNvPr id="5" name="Footer Placeholder 4">
            <a:extLst>
              <a:ext uri="{FF2B5EF4-FFF2-40B4-BE49-F238E27FC236}">
                <a16:creationId xmlns:a16="http://schemas.microsoft.com/office/drawing/2014/main" id="{D8273EB9-8843-C685-1221-767EAF5A88A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626D675E-B17E-E1C8-559B-3F2F8F45279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B0AE37F-1DB0-47DB-8054-4F7D5FFC6962}" type="slidenum">
              <a:rPr lang="en-US" smtClean="0"/>
              <a:t>‹#›</a:t>
            </a:fld>
            <a:endParaRPr lang="en-US"/>
          </a:p>
        </p:txBody>
      </p:sp>
    </p:spTree>
    <p:extLst>
      <p:ext uri="{BB962C8B-B14F-4D97-AF65-F5344CB8AC3E}">
        <p14:creationId xmlns:p14="http://schemas.microsoft.com/office/powerpoint/2010/main" val="208972610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19">
            <a:alphaModFix amt="30000"/>
            <a:lum/>
          </a:blip>
          <a:srcRect/>
          <a:stretch>
            <a:fillRect/>
          </a:stretch>
        </a:blip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8"/>
            </p:custDataLst>
            <p:extLst>
              <p:ext uri="{D42A27DB-BD31-4B8C-83A1-F6EECF244321}">
                <p14:modId xmlns:p14="http://schemas.microsoft.com/office/powerpoint/2010/main" val="2279907341"/>
              </p:ext>
            </p:extLst>
          </p:nvPr>
        </p:nvGraphicFramePr>
        <p:xfrm>
          <a:off x="1681" y="1680"/>
          <a:ext cx="1679" cy="1678"/>
        </p:xfrm>
        <a:graphic>
          <a:graphicData uri="http://schemas.openxmlformats.org/presentationml/2006/ole">
            <mc:AlternateContent xmlns:mc="http://schemas.openxmlformats.org/markup-compatibility/2006">
              <mc:Choice xmlns:v="urn:schemas-microsoft-com:vml" Requires="v">
                <p:oleObj name="think-cell Folie" r:id="rId20" imgW="270" imgH="270" progId="TCLayout.ActiveDocument.1">
                  <p:embed/>
                </p:oleObj>
              </mc:Choice>
              <mc:Fallback>
                <p:oleObj name="think-cell Folie" r:id="rId20" imgW="270" imgH="270" progId="TCLayout.ActiveDocument.1">
                  <p:embed/>
                  <p:pic>
                    <p:nvPicPr>
                      <p:cNvPr id="4" name="Objekt 3" hidden="1"/>
                      <p:cNvPicPr/>
                      <p:nvPr/>
                    </p:nvPicPr>
                    <p:blipFill>
                      <a:blip r:embed="rId21"/>
                      <a:stretch>
                        <a:fillRect/>
                      </a:stretch>
                    </p:blipFill>
                    <p:spPr>
                      <a:xfrm>
                        <a:off x="1681" y="1680"/>
                        <a:ext cx="1679" cy="1678"/>
                      </a:xfrm>
                      <a:prstGeom prst="rect">
                        <a:avLst/>
                      </a:prstGeom>
                    </p:spPr>
                  </p:pic>
                </p:oleObj>
              </mc:Fallback>
            </mc:AlternateContent>
          </a:graphicData>
        </a:graphic>
      </p:graphicFrame>
      <p:sp>
        <p:nvSpPr>
          <p:cNvPr id="2" name="Titelplatzhalter 1"/>
          <p:cNvSpPr>
            <a:spLocks noGrp="1"/>
          </p:cNvSpPr>
          <p:nvPr>
            <p:ph type="title"/>
          </p:nvPr>
        </p:nvSpPr>
        <p:spPr>
          <a:xfrm>
            <a:off x="305723" y="540582"/>
            <a:ext cx="11580552" cy="703041"/>
          </a:xfrm>
          <a:prstGeom prst="rect">
            <a:avLst/>
          </a:prstGeom>
        </p:spPr>
        <p:txBody>
          <a:bodyPr vert="horz" wrap="square" lIns="0" tIns="0" rIns="0" bIns="0" rtlCol="0" anchor="t" anchorCtr="0">
            <a:noAutofit/>
          </a:bodyPr>
          <a:lstStyle/>
          <a:p>
            <a:r>
              <a:rPr lang="en-US"/>
              <a:t>Action Title</a:t>
            </a:r>
            <a:br>
              <a:rPr lang="en-US"/>
            </a:br>
            <a:r>
              <a:rPr lang="en-US"/>
              <a:t>Arial Bold, 24 pt</a:t>
            </a:r>
            <a:endParaRPr lang="en-US" dirty="0"/>
          </a:p>
        </p:txBody>
      </p:sp>
      <p:sp>
        <p:nvSpPr>
          <p:cNvPr id="3" name="Textplatzhalter 2"/>
          <p:cNvSpPr>
            <a:spLocks noGrp="1"/>
          </p:cNvSpPr>
          <p:nvPr>
            <p:ph type="body" idx="1"/>
          </p:nvPr>
        </p:nvSpPr>
        <p:spPr>
          <a:xfrm>
            <a:off x="304746" y="1702328"/>
            <a:ext cx="11581530" cy="4469033"/>
          </a:xfrm>
          <a:prstGeom prst="rect">
            <a:avLst/>
          </a:prstGeom>
        </p:spPr>
        <p:txBody>
          <a:bodyPr vert="horz" lIns="0" tIns="0" rIns="0" bIns="0" rtlCol="0">
            <a:noAutofit/>
          </a:body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US" dirty="0"/>
          </a:p>
        </p:txBody>
      </p:sp>
      <p:sp>
        <p:nvSpPr>
          <p:cNvPr id="5" name="Fußzeilenplatzhalter 4"/>
          <p:cNvSpPr>
            <a:spLocks noGrp="1"/>
          </p:cNvSpPr>
          <p:nvPr>
            <p:ph type="ftr" sz="quarter" idx="3"/>
          </p:nvPr>
        </p:nvSpPr>
        <p:spPr>
          <a:xfrm>
            <a:off x="305725" y="2518"/>
            <a:ext cx="11580552" cy="354853"/>
          </a:xfrm>
          <a:prstGeom prst="rect">
            <a:avLst/>
          </a:prstGeom>
        </p:spPr>
        <p:txBody>
          <a:bodyPr vert="horz" lIns="0" tIns="0" rIns="0" bIns="0" rtlCol="0" anchor="b"/>
          <a:lstStyle>
            <a:lvl1pPr algn="l" rtl="0">
              <a:lnSpc>
                <a:spcPct val="104000"/>
              </a:lnSpc>
              <a:defRPr sz="1163" b="1">
                <a:solidFill>
                  <a:schemeClr val="tx1"/>
                </a:solidFill>
              </a:defRPr>
            </a:lvl1pPr>
          </a:lstStyle>
          <a:p>
            <a:r>
              <a:rPr lang="en-US"/>
              <a:t>Headline</a:t>
            </a:r>
            <a:endParaRPr lang="en-US" dirty="0"/>
          </a:p>
        </p:txBody>
      </p:sp>
      <p:sp>
        <p:nvSpPr>
          <p:cNvPr id="77" name="Textfeld 76"/>
          <p:cNvSpPr txBox="1"/>
          <p:nvPr userDrawn="1"/>
        </p:nvSpPr>
        <p:spPr>
          <a:xfrm>
            <a:off x="5662387" y="6503461"/>
            <a:ext cx="868524" cy="186548"/>
          </a:xfrm>
          <a:prstGeom prst="rect">
            <a:avLst/>
          </a:prstGeom>
          <a:noFill/>
        </p:spPr>
        <p:txBody>
          <a:bodyPr wrap="square" lIns="0" tIns="0" rIns="0" bIns="0" rtlCol="0" anchor="b">
            <a:noAutofit/>
          </a:bodyPr>
          <a:lstStyle/>
          <a:p>
            <a:pPr algn="ctr" rtl="0"/>
            <a:fld id="{FAAB48A4-D341-4AE9-8566-EA7878570C6A}" type="slidenum">
              <a:rPr lang="en-US" sz="1163" smtClean="0">
                <a:solidFill>
                  <a:srgbClr val="4B4B4B"/>
                </a:solidFill>
              </a:rPr>
              <a:pPr algn="ctr" rtl="0"/>
              <a:t>‹#›</a:t>
            </a:fld>
            <a:endParaRPr lang="en-US" sz="1163" dirty="0">
              <a:solidFill>
                <a:srgbClr val="4B4B4B"/>
              </a:solidFill>
            </a:endParaRPr>
          </a:p>
        </p:txBody>
      </p:sp>
      <p:grpSp>
        <p:nvGrpSpPr>
          <p:cNvPr id="138" name="Gruppieren 137"/>
          <p:cNvGrpSpPr/>
          <p:nvPr userDrawn="1"/>
        </p:nvGrpSpPr>
        <p:grpSpPr>
          <a:xfrm>
            <a:off x="-368850" y="-326321"/>
            <a:ext cx="12916643" cy="7536892"/>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custDataLst>
      <p:tags r:id="rId17"/>
    </p:custDataLst>
    <p:extLst>
      <p:ext uri="{BB962C8B-B14F-4D97-AF65-F5344CB8AC3E}">
        <p14:creationId xmlns:p14="http://schemas.microsoft.com/office/powerpoint/2010/main" val="116604944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Lst>
  <p:hf hdr="0" dt="0"/>
  <p:txStyles>
    <p:titleStyle>
      <a:lvl1pPr algn="l" defTabSz="966978" rtl="0" eaLnBrk="1" latinLnBrk="0" hangingPunct="1">
        <a:lnSpc>
          <a:spcPct val="90000"/>
        </a:lnSpc>
        <a:spcBef>
          <a:spcPct val="0"/>
        </a:spcBef>
        <a:buNone/>
        <a:defRPr sz="2538" b="1" kern="1200" baseline="0">
          <a:solidFill>
            <a:schemeClr val="tx1"/>
          </a:solidFill>
          <a:latin typeface="Arial" panose="020B0604020202020204" pitchFamily="34" charset="0"/>
          <a:ea typeface="+mj-ea"/>
          <a:cs typeface="Arial" panose="020B0604020202020204" pitchFamily="34" charset="0"/>
        </a:defRPr>
      </a:lvl1pPr>
    </p:titleStyle>
    <p:bodyStyle>
      <a:lvl1pPr marL="0" indent="0" algn="l" defTabSz="483489" rtl="0" eaLnBrk="1" latinLnBrk="0" hangingPunct="1">
        <a:lnSpc>
          <a:spcPct val="104000"/>
        </a:lnSpc>
        <a:spcBef>
          <a:spcPts val="1269"/>
        </a:spcBef>
        <a:buFont typeface="Arial" panose="020B0604020202020204" pitchFamily="34" charset="0"/>
        <a:buNone/>
        <a:defRPr sz="1481" kern="1200">
          <a:solidFill>
            <a:srgbClr val="4B4B4B"/>
          </a:solidFill>
          <a:latin typeface="+mn-lt"/>
          <a:ea typeface="+mn-ea"/>
          <a:cs typeface="+mn-cs"/>
        </a:defRPr>
      </a:lvl1pPr>
      <a:lvl2pPr marL="190350" indent="-190350" algn="l" defTabSz="483489" rtl="0" eaLnBrk="1" latinLnBrk="0" hangingPunct="1">
        <a:lnSpc>
          <a:spcPct val="104000"/>
        </a:lnSpc>
        <a:spcBef>
          <a:spcPts val="317"/>
        </a:spcBef>
        <a:buClr>
          <a:schemeClr val="tx1"/>
        </a:buClr>
        <a:buSzPct val="70000"/>
        <a:buFont typeface="Wingdings 2" panose="05020102010507070707" pitchFamily="18" charset="2"/>
        <a:buChar char=""/>
        <a:defRPr sz="1481" kern="1200">
          <a:solidFill>
            <a:srgbClr val="4B4B4B"/>
          </a:solidFill>
          <a:latin typeface="+mn-lt"/>
          <a:ea typeface="+mn-ea"/>
          <a:cs typeface="+mn-cs"/>
        </a:defRPr>
      </a:lvl2pPr>
      <a:lvl3pPr marL="380700" indent="-190350" algn="l" defTabSz="464454" rtl="0" eaLnBrk="1" latinLnBrk="0" hangingPunct="1">
        <a:lnSpc>
          <a:spcPct val="104000"/>
        </a:lnSpc>
        <a:spcBef>
          <a:spcPts val="317"/>
        </a:spcBef>
        <a:buClr>
          <a:schemeClr val="tx1"/>
        </a:buClr>
        <a:buSzPct val="70000"/>
        <a:buFont typeface="Wingdings 2" panose="05020102010507070707" pitchFamily="18" charset="2"/>
        <a:buChar char="¡"/>
        <a:defRPr sz="1481" kern="1200">
          <a:solidFill>
            <a:srgbClr val="4B4B4B"/>
          </a:solidFill>
          <a:latin typeface="+mn-lt"/>
          <a:ea typeface="+mn-ea"/>
          <a:cs typeface="+mn-cs"/>
        </a:defRPr>
      </a:lvl3pPr>
      <a:lvl4pPr marL="593892" indent="-190350" algn="l" defTabSz="483489" rtl="0" eaLnBrk="1" latinLnBrk="0" hangingPunct="1">
        <a:lnSpc>
          <a:spcPct val="104000"/>
        </a:lnSpc>
        <a:spcBef>
          <a:spcPts val="317"/>
        </a:spcBef>
        <a:buClr>
          <a:schemeClr val="tx1"/>
        </a:buClr>
        <a:buSzPct val="70000"/>
        <a:buFont typeface="Wingdings 2" panose="05020102010507070707" pitchFamily="18" charset="2"/>
        <a:buChar char="¡"/>
        <a:defRPr sz="1481" kern="1200">
          <a:solidFill>
            <a:srgbClr val="4B4B4B"/>
          </a:solidFill>
          <a:latin typeface="+mn-lt"/>
          <a:ea typeface="+mn-ea"/>
          <a:cs typeface="+mn-cs"/>
        </a:defRPr>
      </a:lvl4pPr>
      <a:lvl5pPr marL="799470" indent="-190350" algn="l" defTabSz="483489" rtl="0" eaLnBrk="1" latinLnBrk="0" hangingPunct="1">
        <a:lnSpc>
          <a:spcPct val="104000"/>
        </a:lnSpc>
        <a:spcBef>
          <a:spcPts val="317"/>
        </a:spcBef>
        <a:buClr>
          <a:schemeClr val="tx1"/>
        </a:buClr>
        <a:buSzPct val="70000"/>
        <a:buFont typeface="Wingdings 2" panose="05020102010507070707" pitchFamily="18" charset="2"/>
        <a:buChar char="¡"/>
        <a:defRPr sz="1481" kern="1200" baseline="0">
          <a:solidFill>
            <a:srgbClr val="4B4B4B"/>
          </a:solidFill>
          <a:latin typeface="+mn-lt"/>
          <a:ea typeface="+mn-ea"/>
          <a:cs typeface="+mn-cs"/>
        </a:defRPr>
      </a:lvl5pPr>
      <a:lvl6pPr marL="985445" indent="-189703" algn="l" defTabSz="966978" rtl="0" eaLnBrk="1" latinLnBrk="0" hangingPunct="1">
        <a:lnSpc>
          <a:spcPct val="104000"/>
        </a:lnSpc>
        <a:spcBef>
          <a:spcPts val="317"/>
        </a:spcBef>
        <a:buClr>
          <a:schemeClr val="tx1"/>
        </a:buClr>
        <a:buSzPct val="70000"/>
        <a:buFont typeface="Wingdings 2" pitchFamily="18" charset="2"/>
        <a:buChar char=""/>
        <a:defRPr sz="1481" kern="1200">
          <a:solidFill>
            <a:srgbClr val="4B4B4B"/>
          </a:solidFill>
          <a:latin typeface="+mn-lt"/>
          <a:ea typeface="+mn-ea"/>
          <a:cs typeface="+mn-cs"/>
        </a:defRPr>
      </a:lvl6pPr>
      <a:lvl7pPr marL="1153323" indent="-189703" algn="l" defTabSz="966978" rtl="0" eaLnBrk="1" latinLnBrk="0" hangingPunct="1">
        <a:lnSpc>
          <a:spcPct val="104000"/>
        </a:lnSpc>
        <a:spcBef>
          <a:spcPts val="317"/>
        </a:spcBef>
        <a:buClr>
          <a:schemeClr val="tx1"/>
        </a:buClr>
        <a:buSzPct val="70000"/>
        <a:buFont typeface="Wingdings 2" pitchFamily="18" charset="2"/>
        <a:buChar char=""/>
        <a:defRPr sz="1481" kern="1200">
          <a:solidFill>
            <a:srgbClr val="4B4B4B"/>
          </a:solidFill>
          <a:latin typeface="+mn-lt"/>
          <a:ea typeface="+mn-ea"/>
          <a:cs typeface="+mn-cs"/>
        </a:defRPr>
      </a:lvl7pPr>
      <a:lvl8pPr marL="1354777" indent="-189703" algn="l" defTabSz="966978" rtl="0" eaLnBrk="1" latinLnBrk="0" hangingPunct="1">
        <a:lnSpc>
          <a:spcPct val="104000"/>
        </a:lnSpc>
        <a:spcBef>
          <a:spcPts val="317"/>
        </a:spcBef>
        <a:buClr>
          <a:schemeClr val="tx1"/>
        </a:buClr>
        <a:buSzPct val="70000"/>
        <a:buFont typeface="Wingdings 2" pitchFamily="18" charset="2"/>
        <a:buChar char=""/>
        <a:defRPr sz="1481" kern="1200">
          <a:solidFill>
            <a:srgbClr val="4B4B4B"/>
          </a:solidFill>
          <a:latin typeface="+mn-lt"/>
          <a:ea typeface="+mn-ea"/>
          <a:cs typeface="+mn-cs"/>
        </a:defRPr>
      </a:lvl8pPr>
      <a:lvl9pPr marL="1559588" indent="-189703" algn="l" defTabSz="966978" rtl="0" eaLnBrk="1" latinLnBrk="0" hangingPunct="1">
        <a:lnSpc>
          <a:spcPct val="104000"/>
        </a:lnSpc>
        <a:spcBef>
          <a:spcPts val="317"/>
        </a:spcBef>
        <a:buClr>
          <a:schemeClr val="tx1"/>
        </a:buClr>
        <a:buSzPct val="70000"/>
        <a:buFont typeface="Wingdings 2" pitchFamily="18" charset="2"/>
        <a:buChar char=""/>
        <a:defRPr sz="1481" kern="1200">
          <a:solidFill>
            <a:srgbClr val="4B4B4B"/>
          </a:solidFill>
          <a:latin typeface="+mn-lt"/>
          <a:ea typeface="+mn-ea"/>
          <a:cs typeface="+mn-cs"/>
        </a:defRPr>
      </a:lvl9pPr>
    </p:bodyStyle>
    <p:otherStyle>
      <a:defPPr>
        <a:defRPr lang="de-DE"/>
      </a:defPPr>
      <a:lvl1pPr marL="0" algn="l" defTabSz="966978" rtl="0" eaLnBrk="1" latinLnBrk="0" hangingPunct="1">
        <a:defRPr sz="1904" kern="1200">
          <a:solidFill>
            <a:schemeClr val="tx1"/>
          </a:solidFill>
          <a:latin typeface="+mn-lt"/>
          <a:ea typeface="+mn-ea"/>
          <a:cs typeface="+mn-cs"/>
        </a:defRPr>
      </a:lvl1pPr>
      <a:lvl2pPr marL="483489" algn="l" defTabSz="966978" rtl="0" eaLnBrk="1" latinLnBrk="0" hangingPunct="1">
        <a:defRPr sz="1904" kern="1200">
          <a:solidFill>
            <a:schemeClr val="tx1"/>
          </a:solidFill>
          <a:latin typeface="+mn-lt"/>
          <a:ea typeface="+mn-ea"/>
          <a:cs typeface="+mn-cs"/>
        </a:defRPr>
      </a:lvl2pPr>
      <a:lvl3pPr marL="966978" algn="l" defTabSz="966978" rtl="0" eaLnBrk="1" latinLnBrk="0" hangingPunct="1">
        <a:defRPr sz="1904" kern="1200">
          <a:solidFill>
            <a:schemeClr val="tx1"/>
          </a:solidFill>
          <a:latin typeface="+mn-lt"/>
          <a:ea typeface="+mn-ea"/>
          <a:cs typeface="+mn-cs"/>
        </a:defRPr>
      </a:lvl3pPr>
      <a:lvl4pPr marL="1450467" algn="l" defTabSz="966978" rtl="0" eaLnBrk="1" latinLnBrk="0" hangingPunct="1">
        <a:defRPr sz="1904" kern="1200">
          <a:solidFill>
            <a:schemeClr val="tx1"/>
          </a:solidFill>
          <a:latin typeface="+mn-lt"/>
          <a:ea typeface="+mn-ea"/>
          <a:cs typeface="+mn-cs"/>
        </a:defRPr>
      </a:lvl4pPr>
      <a:lvl5pPr marL="1933956" algn="l" defTabSz="966978" rtl="0" eaLnBrk="1" latinLnBrk="0" hangingPunct="1">
        <a:defRPr sz="1904" kern="1200">
          <a:solidFill>
            <a:schemeClr val="tx1"/>
          </a:solidFill>
          <a:latin typeface="+mn-lt"/>
          <a:ea typeface="+mn-ea"/>
          <a:cs typeface="+mn-cs"/>
        </a:defRPr>
      </a:lvl5pPr>
      <a:lvl6pPr marL="2417445" algn="l" defTabSz="966978" rtl="0" eaLnBrk="1" latinLnBrk="0" hangingPunct="1">
        <a:defRPr sz="1904" kern="1200">
          <a:solidFill>
            <a:schemeClr val="tx1"/>
          </a:solidFill>
          <a:latin typeface="+mn-lt"/>
          <a:ea typeface="+mn-ea"/>
          <a:cs typeface="+mn-cs"/>
        </a:defRPr>
      </a:lvl6pPr>
      <a:lvl7pPr marL="2900934" algn="l" defTabSz="966978" rtl="0" eaLnBrk="1" latinLnBrk="0" hangingPunct="1">
        <a:defRPr sz="1904" kern="1200">
          <a:solidFill>
            <a:schemeClr val="tx1"/>
          </a:solidFill>
          <a:latin typeface="+mn-lt"/>
          <a:ea typeface="+mn-ea"/>
          <a:cs typeface="+mn-cs"/>
        </a:defRPr>
      </a:lvl7pPr>
      <a:lvl8pPr marL="3384423" algn="l" defTabSz="966978" rtl="0" eaLnBrk="1" latinLnBrk="0" hangingPunct="1">
        <a:defRPr sz="1904" kern="1200">
          <a:solidFill>
            <a:schemeClr val="tx1"/>
          </a:solidFill>
          <a:latin typeface="+mn-lt"/>
          <a:ea typeface="+mn-ea"/>
          <a:cs typeface="+mn-cs"/>
        </a:defRPr>
      </a:lvl8pPr>
      <a:lvl9pPr marL="3867912" algn="l" defTabSz="966978" rtl="0" eaLnBrk="1" latinLnBrk="0" hangingPunct="1">
        <a:defRPr sz="1904"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0"/>
            </p:custDataLst>
            <p:extLst>
              <p:ext uri="{D42A27DB-BD31-4B8C-83A1-F6EECF244321}">
                <p14:modId xmlns:p14="http://schemas.microsoft.com/office/powerpoint/2010/main" val="2975582963"/>
              </p:ext>
            </p:extLst>
          </p:nvPr>
        </p:nvGraphicFramePr>
        <p:xfrm>
          <a:off x="1682" y="1680"/>
          <a:ext cx="1679" cy="1678"/>
        </p:xfrm>
        <a:graphic>
          <a:graphicData uri="http://schemas.openxmlformats.org/presentationml/2006/ole">
            <mc:AlternateContent xmlns:mc="http://schemas.openxmlformats.org/markup-compatibility/2006">
              <mc:Choice xmlns:v="urn:schemas-microsoft-com:vml" Requires="v">
                <p:oleObj name="think-cell Slide" r:id="rId21" imgW="270" imgH="270" progId="TCLayout.ActiveDocument.1">
                  <p:embed/>
                </p:oleObj>
              </mc:Choice>
              <mc:Fallback>
                <p:oleObj name="think-cell Slide" r:id="rId21" imgW="270" imgH="270" progId="TCLayout.ActiveDocument.1">
                  <p:embed/>
                  <p:pic>
                    <p:nvPicPr>
                      <p:cNvPr id="4" name="Objekt 3" hidden="1"/>
                      <p:cNvPicPr/>
                      <p:nvPr/>
                    </p:nvPicPr>
                    <p:blipFill>
                      <a:blip r:embed="rId22"/>
                      <a:stretch>
                        <a:fillRect/>
                      </a:stretch>
                    </p:blipFill>
                    <p:spPr>
                      <a:xfrm>
                        <a:off x="1682" y="1680"/>
                        <a:ext cx="1679" cy="1678"/>
                      </a:xfrm>
                      <a:prstGeom prst="rect">
                        <a:avLst/>
                      </a:prstGeom>
                    </p:spPr>
                  </p:pic>
                </p:oleObj>
              </mc:Fallback>
            </mc:AlternateContent>
          </a:graphicData>
        </a:graphic>
      </p:graphicFrame>
      <p:sp>
        <p:nvSpPr>
          <p:cNvPr id="2" name="Titelplatzhalter 1"/>
          <p:cNvSpPr>
            <a:spLocks noGrp="1"/>
          </p:cNvSpPr>
          <p:nvPr>
            <p:ph type="title"/>
          </p:nvPr>
        </p:nvSpPr>
        <p:spPr>
          <a:xfrm>
            <a:off x="305723" y="540583"/>
            <a:ext cx="11592000" cy="684000"/>
          </a:xfrm>
          <a:prstGeom prst="rect">
            <a:avLst/>
          </a:prstGeom>
          <a:noFill/>
        </p:spPr>
        <p:txBody>
          <a:bodyPr vert="horz" wrap="square" lIns="0" tIns="0" rIns="0" bIns="0" rtlCol="0" anchor="t" anchorCtr="0">
            <a:noAutofit/>
          </a:bodyPr>
          <a:lstStyle/>
          <a:p>
            <a:r>
              <a:rPr lang="en-US" dirty="0"/>
              <a:t>Action Title</a:t>
            </a:r>
            <a:br>
              <a:rPr lang="en-US" dirty="0"/>
            </a:br>
            <a:r>
              <a:rPr lang="en-US" dirty="0"/>
              <a:t>Arial Bold, 24 </a:t>
            </a:r>
            <a:r>
              <a:rPr lang="en-US" dirty="0" err="1"/>
              <a:t>pt</a:t>
            </a:r>
            <a:endParaRPr lang="en-US" dirty="0"/>
          </a:p>
        </p:txBody>
      </p:sp>
      <p:sp>
        <p:nvSpPr>
          <p:cNvPr id="3" name="Textplatzhalter 2"/>
          <p:cNvSpPr>
            <a:spLocks noGrp="1"/>
          </p:cNvSpPr>
          <p:nvPr>
            <p:ph type="body" idx="1"/>
          </p:nvPr>
        </p:nvSpPr>
        <p:spPr>
          <a:xfrm>
            <a:off x="304747" y="1602842"/>
            <a:ext cx="11592000" cy="4176000"/>
          </a:xfrm>
          <a:prstGeom prst="rect">
            <a:avLst/>
          </a:prstGeom>
        </p:spPr>
        <p:txBody>
          <a:bodyPr vert="horz" lIns="0" tIns="0" rIns="0" bIns="0" rtlCol="0">
            <a:noAutofit/>
          </a:body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77" name="Textfeld 76"/>
          <p:cNvSpPr txBox="1"/>
          <p:nvPr userDrawn="1"/>
        </p:nvSpPr>
        <p:spPr>
          <a:xfrm>
            <a:off x="5662387" y="6503461"/>
            <a:ext cx="868524" cy="186548"/>
          </a:xfrm>
          <a:prstGeom prst="rect">
            <a:avLst/>
          </a:prstGeom>
          <a:noFill/>
        </p:spPr>
        <p:txBody>
          <a:bodyPr wrap="square" lIns="0" tIns="0" rIns="0" bIns="0" rtlCol="0" anchor="b">
            <a:noAutofit/>
          </a:bodyPr>
          <a:lstStyle/>
          <a:p>
            <a:pPr algn="ctr" rtl="0"/>
            <a:fld id="{FAAB48A4-D341-4AE9-8566-EA7878570C6A}" type="slidenum">
              <a:rPr lang="en-US" sz="1100" smtClean="0">
                <a:solidFill>
                  <a:srgbClr val="4B4B4B"/>
                </a:solidFill>
              </a:rPr>
              <a:pPr algn="ctr" rtl="0"/>
              <a:t>‹#›</a:t>
            </a:fld>
            <a:endParaRPr lang="en-US" sz="1100" dirty="0">
              <a:solidFill>
                <a:srgbClr val="4B4B4B"/>
              </a:solidFill>
            </a:endParaRPr>
          </a:p>
        </p:txBody>
      </p:sp>
      <p:grpSp>
        <p:nvGrpSpPr>
          <p:cNvPr id="8" name="Group 7">
            <a:extLst>
              <a:ext uri="{FF2B5EF4-FFF2-40B4-BE49-F238E27FC236}">
                <a16:creationId xmlns:a16="http://schemas.microsoft.com/office/drawing/2014/main" id="{ADDE5D17-7EFB-4DFA-91D3-FF678FA3F600}"/>
              </a:ext>
            </a:extLst>
          </p:cNvPr>
          <p:cNvGrpSpPr/>
          <p:nvPr userDrawn="1"/>
        </p:nvGrpSpPr>
        <p:grpSpPr>
          <a:xfrm>
            <a:off x="-167849" y="-173342"/>
            <a:ext cx="12527698" cy="7204685"/>
            <a:chOff x="-167849" y="-173342"/>
            <a:chExt cx="12527698" cy="7204685"/>
          </a:xfrm>
        </p:grpSpPr>
        <p:cxnSp>
          <p:nvCxnSpPr>
            <p:cNvPr id="40" name="Gerade Verbindung 56">
              <a:extLst>
                <a:ext uri="{FF2B5EF4-FFF2-40B4-BE49-F238E27FC236}">
                  <a16:creationId xmlns:a16="http://schemas.microsoft.com/office/drawing/2014/main" id="{1BE36B87-0966-412A-BE42-CC1B24351355}"/>
                </a:ext>
              </a:extLst>
            </p:cNvPr>
            <p:cNvCxnSpPr>
              <a:cxnSpLocks/>
            </p:cNvCxnSpPr>
            <p:nvPr userDrawn="1"/>
          </p:nvCxnSpPr>
          <p:spPr>
            <a:xfrm>
              <a:off x="12251849" y="368095"/>
              <a:ext cx="10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rade Verbindung 57">
              <a:extLst>
                <a:ext uri="{FF2B5EF4-FFF2-40B4-BE49-F238E27FC236}">
                  <a16:creationId xmlns:a16="http://schemas.microsoft.com/office/drawing/2014/main" id="{5FBF0159-362A-449C-B578-7602F57C630B}"/>
                </a:ext>
              </a:extLst>
            </p:cNvPr>
            <p:cNvCxnSpPr>
              <a:cxnSpLocks/>
            </p:cNvCxnSpPr>
            <p:nvPr userDrawn="1"/>
          </p:nvCxnSpPr>
          <p:spPr>
            <a:xfrm>
              <a:off x="12251849" y="540582"/>
              <a:ext cx="10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rade Verbindung 58">
              <a:extLst>
                <a:ext uri="{FF2B5EF4-FFF2-40B4-BE49-F238E27FC236}">
                  <a16:creationId xmlns:a16="http://schemas.microsoft.com/office/drawing/2014/main" id="{9AEE482A-AEAB-45EA-9F36-3C79C3019A4C}"/>
                </a:ext>
              </a:extLst>
            </p:cNvPr>
            <p:cNvCxnSpPr>
              <a:cxnSpLocks/>
            </p:cNvCxnSpPr>
            <p:nvPr userDrawn="1"/>
          </p:nvCxnSpPr>
          <p:spPr>
            <a:xfrm>
              <a:off x="12251849" y="1224582"/>
              <a:ext cx="10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59">
              <a:extLst>
                <a:ext uri="{FF2B5EF4-FFF2-40B4-BE49-F238E27FC236}">
                  <a16:creationId xmlns:a16="http://schemas.microsoft.com/office/drawing/2014/main" id="{964DB47E-6116-4BC3-8258-3234735FC2CA}"/>
                </a:ext>
              </a:extLst>
            </p:cNvPr>
            <p:cNvCxnSpPr>
              <a:cxnSpLocks/>
            </p:cNvCxnSpPr>
            <p:nvPr userDrawn="1"/>
          </p:nvCxnSpPr>
          <p:spPr>
            <a:xfrm>
              <a:off x="12251849" y="1602842"/>
              <a:ext cx="10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60">
              <a:extLst>
                <a:ext uri="{FF2B5EF4-FFF2-40B4-BE49-F238E27FC236}">
                  <a16:creationId xmlns:a16="http://schemas.microsoft.com/office/drawing/2014/main" id="{94956980-19E8-4F68-9555-FF02364B5E58}"/>
                </a:ext>
              </a:extLst>
            </p:cNvPr>
            <p:cNvCxnSpPr>
              <a:cxnSpLocks/>
            </p:cNvCxnSpPr>
            <p:nvPr userDrawn="1"/>
          </p:nvCxnSpPr>
          <p:spPr>
            <a:xfrm>
              <a:off x="12251849" y="6176861"/>
              <a:ext cx="10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rade Verbindung 61">
              <a:extLst>
                <a:ext uri="{FF2B5EF4-FFF2-40B4-BE49-F238E27FC236}">
                  <a16:creationId xmlns:a16="http://schemas.microsoft.com/office/drawing/2014/main" id="{C289578A-286D-45DB-94B6-DE59526A0517}"/>
                </a:ext>
              </a:extLst>
            </p:cNvPr>
            <p:cNvCxnSpPr/>
            <p:nvPr userDrawn="1"/>
          </p:nvCxnSpPr>
          <p:spPr>
            <a:xfrm>
              <a:off x="12251849" y="6398950"/>
              <a:ext cx="10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Gerade Verbindung 62">
              <a:extLst>
                <a:ext uri="{FF2B5EF4-FFF2-40B4-BE49-F238E27FC236}">
                  <a16:creationId xmlns:a16="http://schemas.microsoft.com/office/drawing/2014/main" id="{98AEF92D-12FF-47F1-853F-E015930B0779}"/>
                </a:ext>
              </a:extLst>
            </p:cNvPr>
            <p:cNvCxnSpPr/>
            <p:nvPr userDrawn="1"/>
          </p:nvCxnSpPr>
          <p:spPr>
            <a:xfrm>
              <a:off x="12251849" y="6663652"/>
              <a:ext cx="10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56">
              <a:extLst>
                <a:ext uri="{FF2B5EF4-FFF2-40B4-BE49-F238E27FC236}">
                  <a16:creationId xmlns:a16="http://schemas.microsoft.com/office/drawing/2014/main" id="{87D4C22C-A294-44BD-AFA2-08E1526199CA}"/>
                </a:ext>
              </a:extLst>
            </p:cNvPr>
            <p:cNvCxnSpPr>
              <a:cxnSpLocks/>
            </p:cNvCxnSpPr>
            <p:nvPr userDrawn="1"/>
          </p:nvCxnSpPr>
          <p:spPr>
            <a:xfrm>
              <a:off x="-167849" y="368095"/>
              <a:ext cx="10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57">
              <a:extLst>
                <a:ext uri="{FF2B5EF4-FFF2-40B4-BE49-F238E27FC236}">
                  <a16:creationId xmlns:a16="http://schemas.microsoft.com/office/drawing/2014/main" id="{21DF5D5D-93A9-40F6-A35D-F53FECC7AB3B}"/>
                </a:ext>
              </a:extLst>
            </p:cNvPr>
            <p:cNvCxnSpPr>
              <a:cxnSpLocks/>
            </p:cNvCxnSpPr>
            <p:nvPr userDrawn="1"/>
          </p:nvCxnSpPr>
          <p:spPr>
            <a:xfrm>
              <a:off x="-167849" y="540582"/>
              <a:ext cx="10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Gerade Verbindung 58">
              <a:extLst>
                <a:ext uri="{FF2B5EF4-FFF2-40B4-BE49-F238E27FC236}">
                  <a16:creationId xmlns:a16="http://schemas.microsoft.com/office/drawing/2014/main" id="{448C19C2-9976-4E81-B0CA-D5B715DA4B7D}"/>
                </a:ext>
              </a:extLst>
            </p:cNvPr>
            <p:cNvCxnSpPr>
              <a:cxnSpLocks/>
            </p:cNvCxnSpPr>
            <p:nvPr userDrawn="1"/>
          </p:nvCxnSpPr>
          <p:spPr>
            <a:xfrm>
              <a:off x="-167849" y="1224582"/>
              <a:ext cx="10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Gerade Verbindung 59">
              <a:extLst>
                <a:ext uri="{FF2B5EF4-FFF2-40B4-BE49-F238E27FC236}">
                  <a16:creationId xmlns:a16="http://schemas.microsoft.com/office/drawing/2014/main" id="{D275A4D3-82DD-4CE8-B4C9-F74D7CE116FF}"/>
                </a:ext>
              </a:extLst>
            </p:cNvPr>
            <p:cNvCxnSpPr>
              <a:cxnSpLocks/>
            </p:cNvCxnSpPr>
            <p:nvPr userDrawn="1"/>
          </p:nvCxnSpPr>
          <p:spPr>
            <a:xfrm>
              <a:off x="-167849" y="1602842"/>
              <a:ext cx="10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Gerade Verbindung 60">
              <a:extLst>
                <a:ext uri="{FF2B5EF4-FFF2-40B4-BE49-F238E27FC236}">
                  <a16:creationId xmlns:a16="http://schemas.microsoft.com/office/drawing/2014/main" id="{5D2E7BD1-D2F7-48E4-835C-D33BB15A780B}"/>
                </a:ext>
              </a:extLst>
            </p:cNvPr>
            <p:cNvCxnSpPr>
              <a:cxnSpLocks/>
            </p:cNvCxnSpPr>
            <p:nvPr userDrawn="1"/>
          </p:nvCxnSpPr>
          <p:spPr>
            <a:xfrm>
              <a:off x="-167849" y="6176861"/>
              <a:ext cx="10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6" name="Gerade Verbindung 61">
              <a:extLst>
                <a:ext uri="{FF2B5EF4-FFF2-40B4-BE49-F238E27FC236}">
                  <a16:creationId xmlns:a16="http://schemas.microsoft.com/office/drawing/2014/main" id="{DD08BABD-E993-401A-8504-FA621DDF7A3B}"/>
                </a:ext>
              </a:extLst>
            </p:cNvPr>
            <p:cNvCxnSpPr/>
            <p:nvPr userDrawn="1"/>
          </p:nvCxnSpPr>
          <p:spPr>
            <a:xfrm>
              <a:off x="-167849" y="6398950"/>
              <a:ext cx="10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Gerade Verbindung 62">
              <a:extLst>
                <a:ext uri="{FF2B5EF4-FFF2-40B4-BE49-F238E27FC236}">
                  <a16:creationId xmlns:a16="http://schemas.microsoft.com/office/drawing/2014/main" id="{6166BD5B-C3DE-489D-8D2C-CEF68703CA58}"/>
                </a:ext>
              </a:extLst>
            </p:cNvPr>
            <p:cNvCxnSpPr/>
            <p:nvPr userDrawn="1"/>
          </p:nvCxnSpPr>
          <p:spPr>
            <a:xfrm>
              <a:off x="-167849" y="6663652"/>
              <a:ext cx="10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Gerade Verbindung 14">
              <a:extLst>
                <a:ext uri="{FF2B5EF4-FFF2-40B4-BE49-F238E27FC236}">
                  <a16:creationId xmlns:a16="http://schemas.microsoft.com/office/drawing/2014/main" id="{B899FB17-A909-4D27-94B4-797DDFCA921F}"/>
                </a:ext>
              </a:extLst>
            </p:cNvPr>
            <p:cNvCxnSpPr>
              <a:cxnSpLocks/>
            </p:cNvCxnSpPr>
            <p:nvPr userDrawn="1"/>
          </p:nvCxnSpPr>
          <p:spPr>
            <a:xfrm>
              <a:off x="304747" y="-173342"/>
              <a:ext cx="0" cy="10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Gerade Verbindung 18">
              <a:extLst>
                <a:ext uri="{FF2B5EF4-FFF2-40B4-BE49-F238E27FC236}">
                  <a16:creationId xmlns:a16="http://schemas.microsoft.com/office/drawing/2014/main" id="{F437FF55-B6D0-44CA-8CBA-A15A0EA81581}"/>
                </a:ext>
              </a:extLst>
            </p:cNvPr>
            <p:cNvCxnSpPr>
              <a:cxnSpLocks/>
            </p:cNvCxnSpPr>
            <p:nvPr userDrawn="1"/>
          </p:nvCxnSpPr>
          <p:spPr>
            <a:xfrm>
              <a:off x="11896747" y="-173342"/>
              <a:ext cx="0" cy="10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Gerade Verbindung 14">
              <a:extLst>
                <a:ext uri="{FF2B5EF4-FFF2-40B4-BE49-F238E27FC236}">
                  <a16:creationId xmlns:a16="http://schemas.microsoft.com/office/drawing/2014/main" id="{70FAE748-3AB2-4C10-80E2-86706C0CDC18}"/>
                </a:ext>
              </a:extLst>
            </p:cNvPr>
            <p:cNvCxnSpPr>
              <a:cxnSpLocks/>
            </p:cNvCxnSpPr>
            <p:nvPr userDrawn="1"/>
          </p:nvCxnSpPr>
          <p:spPr>
            <a:xfrm>
              <a:off x="304747" y="6923343"/>
              <a:ext cx="0" cy="10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 name="Gerade Verbindung 21">
              <a:extLst>
                <a:ext uri="{FF2B5EF4-FFF2-40B4-BE49-F238E27FC236}">
                  <a16:creationId xmlns:a16="http://schemas.microsoft.com/office/drawing/2014/main" id="{BE37788D-63E3-464E-902D-26025B8E1B6A}"/>
                </a:ext>
              </a:extLst>
            </p:cNvPr>
            <p:cNvCxnSpPr/>
            <p:nvPr userDrawn="1"/>
          </p:nvCxnSpPr>
          <p:spPr>
            <a:xfrm>
              <a:off x="6095999" y="-173342"/>
              <a:ext cx="0" cy="10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Gerade Verbindung 21">
              <a:extLst>
                <a:ext uri="{FF2B5EF4-FFF2-40B4-BE49-F238E27FC236}">
                  <a16:creationId xmlns:a16="http://schemas.microsoft.com/office/drawing/2014/main" id="{8D373616-A98A-4AF7-BCF9-B3386490C24C}"/>
                </a:ext>
              </a:extLst>
            </p:cNvPr>
            <p:cNvCxnSpPr/>
            <p:nvPr userDrawn="1"/>
          </p:nvCxnSpPr>
          <p:spPr>
            <a:xfrm>
              <a:off x="6095999" y="6923343"/>
              <a:ext cx="0" cy="10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8" name="Gerade Verbindung 18">
              <a:extLst>
                <a:ext uri="{FF2B5EF4-FFF2-40B4-BE49-F238E27FC236}">
                  <a16:creationId xmlns:a16="http://schemas.microsoft.com/office/drawing/2014/main" id="{F8282EAD-D842-46B9-A47E-B66F1BB3038E}"/>
                </a:ext>
              </a:extLst>
            </p:cNvPr>
            <p:cNvCxnSpPr>
              <a:cxnSpLocks/>
            </p:cNvCxnSpPr>
            <p:nvPr userDrawn="1"/>
          </p:nvCxnSpPr>
          <p:spPr>
            <a:xfrm>
              <a:off x="11896747" y="6923343"/>
              <a:ext cx="0" cy="10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Gerade Verbindung 21">
              <a:extLst>
                <a:ext uri="{FF2B5EF4-FFF2-40B4-BE49-F238E27FC236}">
                  <a16:creationId xmlns:a16="http://schemas.microsoft.com/office/drawing/2014/main" id="{9FD45BD5-699C-436C-8556-DF22439CCDE0}"/>
                </a:ext>
              </a:extLst>
            </p:cNvPr>
            <p:cNvCxnSpPr>
              <a:cxnSpLocks/>
            </p:cNvCxnSpPr>
            <p:nvPr userDrawn="1"/>
          </p:nvCxnSpPr>
          <p:spPr>
            <a:xfrm>
              <a:off x="5832000" y="-173342"/>
              <a:ext cx="0" cy="10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0" name="Gerade Verbindung 21">
              <a:extLst>
                <a:ext uri="{FF2B5EF4-FFF2-40B4-BE49-F238E27FC236}">
                  <a16:creationId xmlns:a16="http://schemas.microsoft.com/office/drawing/2014/main" id="{5AB50EDF-11A7-43EF-B9AF-5CD1807C2026}"/>
                </a:ext>
              </a:extLst>
            </p:cNvPr>
            <p:cNvCxnSpPr>
              <a:cxnSpLocks/>
            </p:cNvCxnSpPr>
            <p:nvPr userDrawn="1"/>
          </p:nvCxnSpPr>
          <p:spPr>
            <a:xfrm>
              <a:off x="5832000" y="6923343"/>
              <a:ext cx="0" cy="10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1" name="Gerade Verbindung 21">
              <a:extLst>
                <a:ext uri="{FF2B5EF4-FFF2-40B4-BE49-F238E27FC236}">
                  <a16:creationId xmlns:a16="http://schemas.microsoft.com/office/drawing/2014/main" id="{2E8678D7-9199-45CF-AFEA-3C0A78481549}"/>
                </a:ext>
              </a:extLst>
            </p:cNvPr>
            <p:cNvCxnSpPr>
              <a:cxnSpLocks/>
            </p:cNvCxnSpPr>
            <p:nvPr userDrawn="1"/>
          </p:nvCxnSpPr>
          <p:spPr>
            <a:xfrm>
              <a:off x="6360000" y="-173342"/>
              <a:ext cx="0" cy="10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Gerade Verbindung 21">
              <a:extLst>
                <a:ext uri="{FF2B5EF4-FFF2-40B4-BE49-F238E27FC236}">
                  <a16:creationId xmlns:a16="http://schemas.microsoft.com/office/drawing/2014/main" id="{6FD106BE-8A60-4176-8003-10670FD4DA59}"/>
                </a:ext>
              </a:extLst>
            </p:cNvPr>
            <p:cNvCxnSpPr>
              <a:cxnSpLocks/>
            </p:cNvCxnSpPr>
            <p:nvPr userDrawn="1"/>
          </p:nvCxnSpPr>
          <p:spPr>
            <a:xfrm>
              <a:off x="6360000" y="6923343"/>
              <a:ext cx="0" cy="10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Gerade Verbindung 21">
              <a:extLst>
                <a:ext uri="{FF2B5EF4-FFF2-40B4-BE49-F238E27FC236}">
                  <a16:creationId xmlns:a16="http://schemas.microsoft.com/office/drawing/2014/main" id="{E3DC1B4E-6DA1-42CA-85D5-3F6569660C70}"/>
                </a:ext>
              </a:extLst>
            </p:cNvPr>
            <p:cNvCxnSpPr>
              <a:cxnSpLocks/>
            </p:cNvCxnSpPr>
            <p:nvPr userDrawn="1"/>
          </p:nvCxnSpPr>
          <p:spPr>
            <a:xfrm>
              <a:off x="3780000" y="-173342"/>
              <a:ext cx="0" cy="10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Gerade Verbindung 21">
              <a:extLst>
                <a:ext uri="{FF2B5EF4-FFF2-40B4-BE49-F238E27FC236}">
                  <a16:creationId xmlns:a16="http://schemas.microsoft.com/office/drawing/2014/main" id="{D4F1978E-E352-4B59-9F0C-20481C59E80B}"/>
                </a:ext>
              </a:extLst>
            </p:cNvPr>
            <p:cNvCxnSpPr>
              <a:cxnSpLocks/>
            </p:cNvCxnSpPr>
            <p:nvPr userDrawn="1"/>
          </p:nvCxnSpPr>
          <p:spPr>
            <a:xfrm>
              <a:off x="3780000" y="6923343"/>
              <a:ext cx="0" cy="10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 name="Gerade Verbindung 21">
              <a:extLst>
                <a:ext uri="{FF2B5EF4-FFF2-40B4-BE49-F238E27FC236}">
                  <a16:creationId xmlns:a16="http://schemas.microsoft.com/office/drawing/2014/main" id="{A0098E96-4840-446A-B0E6-3E5922A7A0C7}"/>
                </a:ext>
              </a:extLst>
            </p:cNvPr>
            <p:cNvCxnSpPr>
              <a:cxnSpLocks/>
            </p:cNvCxnSpPr>
            <p:nvPr userDrawn="1"/>
          </p:nvCxnSpPr>
          <p:spPr>
            <a:xfrm>
              <a:off x="8412000" y="-173342"/>
              <a:ext cx="0" cy="10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Gerade Verbindung 21">
              <a:extLst>
                <a:ext uri="{FF2B5EF4-FFF2-40B4-BE49-F238E27FC236}">
                  <a16:creationId xmlns:a16="http://schemas.microsoft.com/office/drawing/2014/main" id="{49362F7B-E601-4399-A366-3E9919DBA574}"/>
                </a:ext>
              </a:extLst>
            </p:cNvPr>
            <p:cNvCxnSpPr>
              <a:cxnSpLocks/>
            </p:cNvCxnSpPr>
            <p:nvPr userDrawn="1"/>
          </p:nvCxnSpPr>
          <p:spPr>
            <a:xfrm>
              <a:off x="8412000" y="6923343"/>
              <a:ext cx="0" cy="10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Gerade Verbindung 60">
              <a:extLst>
                <a:ext uri="{FF2B5EF4-FFF2-40B4-BE49-F238E27FC236}">
                  <a16:creationId xmlns:a16="http://schemas.microsoft.com/office/drawing/2014/main" id="{FD0BAA45-9DB8-4DFF-850F-15FD6553D88A}"/>
                </a:ext>
              </a:extLst>
            </p:cNvPr>
            <p:cNvCxnSpPr>
              <a:cxnSpLocks/>
            </p:cNvCxnSpPr>
            <p:nvPr userDrawn="1"/>
          </p:nvCxnSpPr>
          <p:spPr>
            <a:xfrm>
              <a:off x="12251849" y="5778842"/>
              <a:ext cx="10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8" name="Gerade Verbindung 60">
              <a:extLst>
                <a:ext uri="{FF2B5EF4-FFF2-40B4-BE49-F238E27FC236}">
                  <a16:creationId xmlns:a16="http://schemas.microsoft.com/office/drawing/2014/main" id="{57FECA81-F967-4172-A93A-37B05272F7BA}"/>
                </a:ext>
              </a:extLst>
            </p:cNvPr>
            <p:cNvCxnSpPr>
              <a:cxnSpLocks/>
            </p:cNvCxnSpPr>
            <p:nvPr userDrawn="1"/>
          </p:nvCxnSpPr>
          <p:spPr>
            <a:xfrm>
              <a:off x="-167849" y="5778842"/>
              <a:ext cx="10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Tree>
    <p:custDataLst>
      <p:tags r:id="rId19"/>
    </p:custDataLst>
    <p:extLst>
      <p:ext uri="{BB962C8B-B14F-4D97-AF65-F5344CB8AC3E}">
        <p14:creationId xmlns:p14="http://schemas.microsoft.com/office/powerpoint/2010/main" val="601181426"/>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 id="2147483692" r:id="rId16"/>
    <p:sldLayoutId id="2147483693" r:id="rId17"/>
  </p:sldLayoutIdLst>
  <p:hf sldNum="0" hdr="0" ftr="0"/>
  <p:txStyles>
    <p:titleStyle>
      <a:lvl1pPr algn="l" defTabSz="966978" rtl="0" eaLnBrk="1" latinLnBrk="0" hangingPunct="1">
        <a:lnSpc>
          <a:spcPct val="90000"/>
        </a:lnSpc>
        <a:spcBef>
          <a:spcPct val="0"/>
        </a:spcBef>
        <a:buNone/>
        <a:defRPr sz="2400" b="1" kern="1200" baseline="0">
          <a:solidFill>
            <a:schemeClr val="tx1"/>
          </a:solidFill>
          <a:latin typeface="+mj-lt"/>
          <a:ea typeface="+mj-ea"/>
          <a:cs typeface="Arial" panose="020B0604020202020204" pitchFamily="34" charset="0"/>
        </a:defRPr>
      </a:lvl1pPr>
    </p:titleStyle>
    <p:bodyStyle>
      <a:lvl1pPr marL="0" indent="0" algn="l" defTabSz="483489" rtl="0" eaLnBrk="1" latinLnBrk="0" hangingPunct="1">
        <a:lnSpc>
          <a:spcPct val="100000"/>
        </a:lnSpc>
        <a:spcBef>
          <a:spcPts val="0"/>
        </a:spcBef>
        <a:spcAft>
          <a:spcPts val="300"/>
        </a:spcAft>
        <a:buFont typeface="Arial" panose="020B0604020202020204" pitchFamily="34" charset="0"/>
        <a:buNone/>
        <a:defRPr sz="1400" kern="1200">
          <a:solidFill>
            <a:schemeClr val="tx1"/>
          </a:solidFill>
          <a:latin typeface="+mn-lt"/>
          <a:ea typeface="+mn-ea"/>
          <a:cs typeface="+mn-cs"/>
        </a:defRPr>
      </a:lvl1pPr>
      <a:lvl2pPr marL="190350" indent="-190350" algn="l" defTabSz="483489" rtl="0" eaLnBrk="1" latinLnBrk="0" hangingPunct="1">
        <a:lnSpc>
          <a:spcPct val="100000"/>
        </a:lnSpc>
        <a:spcBef>
          <a:spcPts val="0"/>
        </a:spcBef>
        <a:spcAft>
          <a:spcPts val="300"/>
        </a:spcAft>
        <a:buClr>
          <a:schemeClr val="tx1"/>
        </a:buClr>
        <a:buSzPct val="80000"/>
        <a:buFont typeface="Wingdings 2" panose="05020102010507070707" pitchFamily="18" charset="2"/>
        <a:buChar char="¡"/>
        <a:defRPr sz="1400" kern="1200">
          <a:solidFill>
            <a:schemeClr val="tx1"/>
          </a:solidFill>
          <a:latin typeface="+mn-lt"/>
          <a:ea typeface="+mn-ea"/>
          <a:cs typeface="+mn-cs"/>
        </a:defRPr>
      </a:lvl2pPr>
      <a:lvl3pPr marL="380700" indent="-190350" algn="l" defTabSz="464454" rtl="0" eaLnBrk="1" latinLnBrk="0" hangingPunct="1">
        <a:lnSpc>
          <a:spcPct val="100000"/>
        </a:lnSpc>
        <a:spcBef>
          <a:spcPts val="0"/>
        </a:spcBef>
        <a:spcAft>
          <a:spcPts val="300"/>
        </a:spcAft>
        <a:buClr>
          <a:schemeClr val="tx1"/>
        </a:buClr>
        <a:buSzPct val="80000"/>
        <a:buFont typeface="Wingdings 2" panose="05020102010507070707" pitchFamily="18" charset="2"/>
        <a:buChar char=""/>
        <a:defRPr sz="1400" kern="1200">
          <a:solidFill>
            <a:schemeClr val="tx1"/>
          </a:solidFill>
          <a:latin typeface="+mn-lt"/>
          <a:ea typeface="+mn-ea"/>
          <a:cs typeface="+mn-cs"/>
        </a:defRPr>
      </a:lvl3pPr>
      <a:lvl4pPr marL="593892" indent="-190350" algn="l" defTabSz="483489" rtl="0" eaLnBrk="1" latinLnBrk="0" hangingPunct="1">
        <a:lnSpc>
          <a:spcPct val="100000"/>
        </a:lnSpc>
        <a:spcBef>
          <a:spcPts val="0"/>
        </a:spcBef>
        <a:spcAft>
          <a:spcPts val="300"/>
        </a:spcAft>
        <a:buClr>
          <a:schemeClr val="tx1"/>
        </a:buClr>
        <a:buSzPct val="80000"/>
        <a:buFont typeface="Arial" panose="020B0604020202020204" pitchFamily="34" charset="0"/>
        <a:buChar char="–"/>
        <a:defRPr sz="1400" kern="1200">
          <a:solidFill>
            <a:schemeClr val="tx1"/>
          </a:solidFill>
          <a:latin typeface="+mn-lt"/>
          <a:ea typeface="+mn-ea"/>
          <a:cs typeface="+mn-cs"/>
        </a:defRPr>
      </a:lvl4pPr>
      <a:lvl5pPr marL="799470" indent="-190350" algn="l" defTabSz="483489" rtl="0" eaLnBrk="1" latinLnBrk="0" hangingPunct="1">
        <a:lnSpc>
          <a:spcPct val="100000"/>
        </a:lnSpc>
        <a:spcBef>
          <a:spcPts val="0"/>
        </a:spcBef>
        <a:spcAft>
          <a:spcPts val="300"/>
        </a:spcAft>
        <a:buClr>
          <a:schemeClr val="tx1"/>
        </a:buClr>
        <a:buSzPct val="80000"/>
        <a:buFont typeface="Arial" panose="020B0604020202020204" pitchFamily="34" charset="0"/>
        <a:buChar char="○"/>
        <a:defRPr sz="1400" kern="1200" baseline="0">
          <a:solidFill>
            <a:schemeClr val="tx1"/>
          </a:solidFill>
          <a:latin typeface="+mn-lt"/>
          <a:ea typeface="+mn-ea"/>
          <a:cs typeface="+mn-cs"/>
        </a:defRPr>
      </a:lvl5pPr>
      <a:lvl6pPr marL="985445" indent="-189703" algn="l" defTabSz="966978" rtl="0" eaLnBrk="1" latinLnBrk="0" hangingPunct="1">
        <a:lnSpc>
          <a:spcPct val="100000"/>
        </a:lnSpc>
        <a:spcBef>
          <a:spcPts val="0"/>
        </a:spcBef>
        <a:spcAft>
          <a:spcPts val="300"/>
        </a:spcAft>
        <a:buClr>
          <a:schemeClr val="tx1"/>
        </a:buClr>
        <a:buSzPct val="80000"/>
        <a:buFont typeface="Wingdings 2" panose="05020102010507070707" pitchFamily="18" charset="2"/>
        <a:buChar char="¡"/>
        <a:defRPr sz="1400" kern="1200">
          <a:solidFill>
            <a:schemeClr val="tx1"/>
          </a:solidFill>
          <a:latin typeface="+mn-lt"/>
          <a:ea typeface="+mn-ea"/>
          <a:cs typeface="+mn-cs"/>
        </a:defRPr>
      </a:lvl6pPr>
      <a:lvl7pPr marL="1153323" indent="-189703" algn="l" defTabSz="966978" rtl="0" eaLnBrk="1" latinLnBrk="0" hangingPunct="1">
        <a:lnSpc>
          <a:spcPct val="100000"/>
        </a:lnSpc>
        <a:spcBef>
          <a:spcPts val="0"/>
        </a:spcBef>
        <a:spcAft>
          <a:spcPts val="300"/>
        </a:spcAft>
        <a:buClr>
          <a:schemeClr val="tx1"/>
        </a:buClr>
        <a:buSzPct val="80000"/>
        <a:buFont typeface="Wingdings 2" panose="05020102010507070707" pitchFamily="18" charset="2"/>
        <a:buChar char=""/>
        <a:defRPr sz="1400" kern="1200">
          <a:solidFill>
            <a:schemeClr val="tx1"/>
          </a:solidFill>
          <a:latin typeface="+mn-lt"/>
          <a:ea typeface="+mn-ea"/>
          <a:cs typeface="+mn-cs"/>
        </a:defRPr>
      </a:lvl7pPr>
      <a:lvl8pPr marL="1354777" indent="-189703" algn="l" defTabSz="966978" rtl="0" eaLnBrk="1" latinLnBrk="0" hangingPunct="1">
        <a:lnSpc>
          <a:spcPct val="100000"/>
        </a:lnSpc>
        <a:spcBef>
          <a:spcPts val="0"/>
        </a:spcBef>
        <a:spcAft>
          <a:spcPts val="300"/>
        </a:spcAft>
        <a:buClr>
          <a:schemeClr val="tx1"/>
        </a:buClr>
        <a:buSzPct val="80000"/>
        <a:buFont typeface="Arial" panose="020B0604020202020204" pitchFamily="34" charset="0"/>
        <a:buChar char="–"/>
        <a:defRPr sz="1400" kern="1200">
          <a:solidFill>
            <a:schemeClr val="tx1"/>
          </a:solidFill>
          <a:latin typeface="+mn-lt"/>
          <a:ea typeface="+mn-ea"/>
          <a:cs typeface="+mn-cs"/>
        </a:defRPr>
      </a:lvl8pPr>
      <a:lvl9pPr marL="1559588" indent="-189703" algn="l" defTabSz="966978" rtl="0" eaLnBrk="1" latinLnBrk="0" hangingPunct="1">
        <a:lnSpc>
          <a:spcPct val="100000"/>
        </a:lnSpc>
        <a:spcBef>
          <a:spcPts val="0"/>
        </a:spcBef>
        <a:spcAft>
          <a:spcPts val="300"/>
        </a:spcAft>
        <a:buClr>
          <a:schemeClr val="tx1"/>
        </a:buClr>
        <a:buSzPct val="80000"/>
        <a:buFont typeface="Arial" panose="020B0604020202020204" pitchFamily="34" charset="0"/>
        <a:buChar char="○"/>
        <a:defRPr sz="1400" kern="1200">
          <a:solidFill>
            <a:schemeClr val="tx1"/>
          </a:solidFill>
          <a:latin typeface="+mn-lt"/>
          <a:ea typeface="+mn-ea"/>
          <a:cs typeface="+mn-cs"/>
        </a:defRPr>
      </a:lvl9pPr>
    </p:bodyStyle>
    <p:otherStyle>
      <a:defPPr>
        <a:defRPr lang="de-DE"/>
      </a:defPPr>
      <a:lvl1pPr marL="0" algn="l" defTabSz="966978" rtl="0" eaLnBrk="1" latinLnBrk="0" hangingPunct="1">
        <a:defRPr sz="1904" kern="1200">
          <a:solidFill>
            <a:schemeClr val="tx1"/>
          </a:solidFill>
          <a:latin typeface="+mn-lt"/>
          <a:ea typeface="+mn-ea"/>
          <a:cs typeface="+mn-cs"/>
        </a:defRPr>
      </a:lvl1pPr>
      <a:lvl2pPr marL="483489" algn="l" defTabSz="966978" rtl="0" eaLnBrk="1" latinLnBrk="0" hangingPunct="1">
        <a:defRPr sz="1904" kern="1200">
          <a:solidFill>
            <a:schemeClr val="tx1"/>
          </a:solidFill>
          <a:latin typeface="+mn-lt"/>
          <a:ea typeface="+mn-ea"/>
          <a:cs typeface="+mn-cs"/>
        </a:defRPr>
      </a:lvl2pPr>
      <a:lvl3pPr marL="966978" algn="l" defTabSz="966978" rtl="0" eaLnBrk="1" latinLnBrk="0" hangingPunct="1">
        <a:defRPr sz="1904" kern="1200">
          <a:solidFill>
            <a:schemeClr val="tx1"/>
          </a:solidFill>
          <a:latin typeface="+mn-lt"/>
          <a:ea typeface="+mn-ea"/>
          <a:cs typeface="+mn-cs"/>
        </a:defRPr>
      </a:lvl3pPr>
      <a:lvl4pPr marL="1450467" algn="l" defTabSz="966978" rtl="0" eaLnBrk="1" latinLnBrk="0" hangingPunct="1">
        <a:defRPr sz="1904" kern="1200">
          <a:solidFill>
            <a:schemeClr val="tx1"/>
          </a:solidFill>
          <a:latin typeface="+mn-lt"/>
          <a:ea typeface="+mn-ea"/>
          <a:cs typeface="+mn-cs"/>
        </a:defRPr>
      </a:lvl4pPr>
      <a:lvl5pPr marL="1933956" algn="l" defTabSz="966978" rtl="0" eaLnBrk="1" latinLnBrk="0" hangingPunct="1">
        <a:defRPr sz="1904" kern="1200">
          <a:solidFill>
            <a:schemeClr val="tx1"/>
          </a:solidFill>
          <a:latin typeface="+mn-lt"/>
          <a:ea typeface="+mn-ea"/>
          <a:cs typeface="+mn-cs"/>
        </a:defRPr>
      </a:lvl5pPr>
      <a:lvl6pPr marL="2417445" algn="l" defTabSz="966978" rtl="0" eaLnBrk="1" latinLnBrk="0" hangingPunct="1">
        <a:defRPr sz="1904" kern="1200">
          <a:solidFill>
            <a:schemeClr val="tx1"/>
          </a:solidFill>
          <a:latin typeface="+mn-lt"/>
          <a:ea typeface="+mn-ea"/>
          <a:cs typeface="+mn-cs"/>
        </a:defRPr>
      </a:lvl6pPr>
      <a:lvl7pPr marL="2900934" algn="l" defTabSz="966978" rtl="0" eaLnBrk="1" latinLnBrk="0" hangingPunct="1">
        <a:defRPr sz="1904" kern="1200">
          <a:solidFill>
            <a:schemeClr val="tx1"/>
          </a:solidFill>
          <a:latin typeface="+mn-lt"/>
          <a:ea typeface="+mn-ea"/>
          <a:cs typeface="+mn-cs"/>
        </a:defRPr>
      </a:lvl7pPr>
      <a:lvl8pPr marL="3384423" algn="l" defTabSz="966978" rtl="0" eaLnBrk="1" latinLnBrk="0" hangingPunct="1">
        <a:defRPr sz="1904" kern="1200">
          <a:solidFill>
            <a:schemeClr val="tx1"/>
          </a:solidFill>
          <a:latin typeface="+mn-lt"/>
          <a:ea typeface="+mn-ea"/>
          <a:cs typeface="+mn-cs"/>
        </a:defRPr>
      </a:lvl8pPr>
      <a:lvl9pPr marL="3867912" algn="l" defTabSz="966978" rtl="0" eaLnBrk="1" latinLnBrk="0" hangingPunct="1">
        <a:defRPr sz="1904"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tags" Target="../tags/tag39.xml"/><Relationship Id="rId6" Type="http://schemas.openxmlformats.org/officeDocument/2006/relationships/image" Target="../media/image6.emf"/><Relationship Id="rId5" Type="http://schemas.openxmlformats.org/officeDocument/2006/relationships/oleObject" Target="../embeddings/oleObject29.bin"/><Relationship Id="rId4" Type="http://schemas.openxmlformats.org/officeDocument/2006/relationships/image" Target="../media/image10.jp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5.xml"/><Relationship Id="rId1" Type="http://schemas.openxmlformats.org/officeDocument/2006/relationships/tags" Target="../tags/tag44.xml"/><Relationship Id="rId5" Type="http://schemas.openxmlformats.org/officeDocument/2006/relationships/image" Target="../media/image8.emf"/><Relationship Id="rId4" Type="http://schemas.openxmlformats.org/officeDocument/2006/relationships/oleObject" Target="../embeddings/oleObject34.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5.xml"/><Relationship Id="rId1" Type="http://schemas.openxmlformats.org/officeDocument/2006/relationships/tags" Target="../tags/tag45.xml"/><Relationship Id="rId6" Type="http://schemas.openxmlformats.org/officeDocument/2006/relationships/image" Target="../media/image15.jpeg"/><Relationship Id="rId5" Type="http://schemas.openxmlformats.org/officeDocument/2006/relationships/image" Target="../media/image8.emf"/><Relationship Id="rId4" Type="http://schemas.openxmlformats.org/officeDocument/2006/relationships/oleObject" Target="../embeddings/oleObject35.bin"/></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26.xml"/><Relationship Id="rId1" Type="http://schemas.openxmlformats.org/officeDocument/2006/relationships/tags" Target="../tags/tag46.xml"/><Relationship Id="rId5" Type="http://schemas.openxmlformats.org/officeDocument/2006/relationships/image" Target="../media/image16.jpg"/><Relationship Id="rId4" Type="http://schemas.openxmlformats.org/officeDocument/2006/relationships/image" Target="../media/image8.emf"/></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24.xml"/><Relationship Id="rId1" Type="http://schemas.openxmlformats.org/officeDocument/2006/relationships/tags" Target="../tags/tag47.xml"/><Relationship Id="rId5" Type="http://schemas.openxmlformats.org/officeDocument/2006/relationships/image" Target="../media/image17.jpg"/><Relationship Id="rId4" Type="http://schemas.openxmlformats.org/officeDocument/2006/relationships/image" Target="../media/image8.emf"/></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5.xml"/><Relationship Id="rId1" Type="http://schemas.openxmlformats.org/officeDocument/2006/relationships/tags" Target="../tags/tag48.xml"/><Relationship Id="rId5" Type="http://schemas.openxmlformats.org/officeDocument/2006/relationships/image" Target="../media/image8.emf"/><Relationship Id="rId4" Type="http://schemas.openxmlformats.org/officeDocument/2006/relationships/oleObject" Target="../embeddings/oleObject38.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6.xml"/><Relationship Id="rId1" Type="http://schemas.openxmlformats.org/officeDocument/2006/relationships/tags" Target="../tags/tag40.xml"/><Relationship Id="rId6" Type="http://schemas.openxmlformats.org/officeDocument/2006/relationships/image" Target="../media/image11.jpg"/><Relationship Id="rId5" Type="http://schemas.openxmlformats.org/officeDocument/2006/relationships/image" Target="../media/image8.emf"/><Relationship Id="rId4" Type="http://schemas.openxmlformats.org/officeDocument/2006/relationships/oleObject" Target="../embeddings/oleObject30.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3.xml"/><Relationship Id="rId1" Type="http://schemas.openxmlformats.org/officeDocument/2006/relationships/tags" Target="../tags/tag41.xml"/><Relationship Id="rId5" Type="http://schemas.openxmlformats.org/officeDocument/2006/relationships/image" Target="../media/image8.emf"/><Relationship Id="rId4" Type="http://schemas.openxmlformats.org/officeDocument/2006/relationships/oleObject" Target="../embeddings/oleObject31.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16.xml"/><Relationship Id="rId4" Type="http://schemas.openxmlformats.org/officeDocument/2006/relationships/image" Target="../media/image13.sv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3.xml"/><Relationship Id="rId1" Type="http://schemas.openxmlformats.org/officeDocument/2006/relationships/tags" Target="../tags/tag42.xml"/><Relationship Id="rId5" Type="http://schemas.openxmlformats.org/officeDocument/2006/relationships/image" Target="../media/image8.emf"/><Relationship Id="rId4" Type="http://schemas.openxmlformats.org/officeDocument/2006/relationships/oleObject" Target="../embeddings/oleObject32.bin"/></Relationships>
</file>

<file path=ppt/slides/_rels/slide8.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7.xml"/><Relationship Id="rId1" Type="http://schemas.openxmlformats.org/officeDocument/2006/relationships/slideLayout" Target="../slideLayouts/slideLayout17.xml"/><Relationship Id="rId4" Type="http://schemas.openxmlformats.org/officeDocument/2006/relationships/chart" Target="../charts/chart1.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5.xml"/><Relationship Id="rId1" Type="http://schemas.openxmlformats.org/officeDocument/2006/relationships/tags" Target="../tags/tag43.xml"/><Relationship Id="rId5" Type="http://schemas.openxmlformats.org/officeDocument/2006/relationships/image" Target="../media/image8.emf"/><Relationship Id="rId4" Type="http://schemas.openxmlformats.org/officeDocument/2006/relationships/oleObject" Target="../embeddings/oleObject33.bin"/></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826BCDF-E44C-4D55-9B56-D5003C52EA0A}"/>
              </a:ext>
            </a:extLst>
          </p:cNvPr>
          <p:cNvGraphicFramePr>
            <a:graphicFrameLocks noChangeAspect="1"/>
          </p:cNvGraphicFramePr>
          <p:nvPr>
            <p:custDataLst>
              <p:tags r:id="rId1"/>
            </p:custDataLst>
          </p:nvPr>
        </p:nvGraphicFramePr>
        <p:xfrm>
          <a:off x="5224" y="1679"/>
          <a:ext cx="1679" cy="1679"/>
        </p:xfrm>
        <a:graphic>
          <a:graphicData uri="http://schemas.openxmlformats.org/presentationml/2006/ole">
            <mc:AlternateContent xmlns:mc="http://schemas.openxmlformats.org/markup-compatibility/2006">
              <mc:Choice xmlns:v="urn:schemas-microsoft-com:vml" Requires="v">
                <p:oleObj name="think-cell Folie" r:id="rId5" imgW="395" imgH="394" progId="TCLayout.ActiveDocument.1">
                  <p:embed/>
                </p:oleObj>
              </mc:Choice>
              <mc:Fallback>
                <p:oleObj name="think-cell Folie" r:id="rId5" imgW="395" imgH="394" progId="TCLayout.ActiveDocument.1">
                  <p:embed/>
                  <p:pic>
                    <p:nvPicPr>
                      <p:cNvPr id="2" name="Objekt 1" hidden="1">
                        <a:extLst>
                          <a:ext uri="{FF2B5EF4-FFF2-40B4-BE49-F238E27FC236}">
                            <a16:creationId xmlns:a16="http://schemas.microsoft.com/office/drawing/2014/main" id="{B826BCDF-E44C-4D55-9B56-D5003C52EA0A}"/>
                          </a:ext>
                        </a:extLst>
                      </p:cNvPr>
                      <p:cNvPicPr/>
                      <p:nvPr/>
                    </p:nvPicPr>
                    <p:blipFill>
                      <a:blip r:embed="rId6"/>
                      <a:stretch>
                        <a:fillRect/>
                      </a:stretch>
                    </p:blipFill>
                    <p:spPr>
                      <a:xfrm>
                        <a:off x="5224" y="1679"/>
                        <a:ext cx="1679" cy="1679"/>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3953F514-72F7-420E-DE29-7D02515D77F0}"/>
              </a:ext>
            </a:extLst>
          </p:cNvPr>
          <p:cNvSpPr>
            <a:spLocks noGrp="1"/>
          </p:cNvSpPr>
          <p:nvPr>
            <p:ph type="body" sz="quarter" idx="12"/>
          </p:nvPr>
        </p:nvSpPr>
        <p:spPr>
          <a:xfrm>
            <a:off x="524513" y="1316938"/>
            <a:ext cx="7022969" cy="1357460"/>
          </a:xfrm>
        </p:spPr>
        <p:txBody>
          <a:bodyPr/>
          <a:lstStyle/>
          <a:p>
            <a:r>
              <a:rPr lang="en-US" dirty="0">
                <a:solidFill>
                  <a:srgbClr val="000000"/>
                </a:solidFill>
              </a:rPr>
              <a:t>Case Study ORAN</a:t>
            </a:r>
          </a:p>
        </p:txBody>
      </p:sp>
      <p:sp>
        <p:nvSpPr>
          <p:cNvPr id="3" name="TextBox 2">
            <a:extLst>
              <a:ext uri="{FF2B5EF4-FFF2-40B4-BE49-F238E27FC236}">
                <a16:creationId xmlns:a16="http://schemas.microsoft.com/office/drawing/2014/main" id="{9C682F51-5156-06E5-66BC-F162945E8B03}"/>
              </a:ext>
            </a:extLst>
          </p:cNvPr>
          <p:cNvSpPr txBox="1"/>
          <p:nvPr/>
        </p:nvSpPr>
        <p:spPr>
          <a:xfrm>
            <a:off x="746456" y="3059668"/>
            <a:ext cx="3578672" cy="369332"/>
          </a:xfrm>
          <a:prstGeom prst="rect">
            <a:avLst/>
          </a:prstGeom>
          <a:noFill/>
        </p:spPr>
        <p:txBody>
          <a:bodyPr wrap="none" rtlCol="0">
            <a:spAutoFit/>
          </a:bodyPr>
          <a:lstStyle/>
          <a:p>
            <a:r>
              <a:rPr lang="en-US" b="1" dirty="0">
                <a:solidFill>
                  <a:schemeClr val="tx1">
                    <a:lumMod val="50000"/>
                  </a:schemeClr>
                </a:solidFill>
              </a:rPr>
              <a:t>Presented By : ASHIQ PATHAN</a:t>
            </a:r>
          </a:p>
        </p:txBody>
      </p:sp>
    </p:spTree>
    <p:extLst>
      <p:ext uri="{BB962C8B-B14F-4D97-AF65-F5344CB8AC3E}">
        <p14:creationId xmlns:p14="http://schemas.microsoft.com/office/powerpoint/2010/main" val="38883840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4" name="Object 2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 name="Title 27"/>
          <p:cNvSpPr>
            <a:spLocks noGrp="1"/>
          </p:cNvSpPr>
          <p:nvPr>
            <p:ph type="title"/>
          </p:nvPr>
        </p:nvSpPr>
        <p:spPr>
          <a:xfrm>
            <a:off x="304747" y="540582"/>
            <a:ext cx="11592000" cy="332399"/>
          </a:xfrm>
          <a:solidFill>
            <a:schemeClr val="bg1"/>
          </a:solidFill>
        </p:spPr>
        <p:txBody>
          <a:bodyPr/>
          <a:lstStyle/>
          <a:p>
            <a:r>
              <a:rPr lang="en-US" dirty="0"/>
              <a:t>Deliverable </a:t>
            </a:r>
          </a:p>
        </p:txBody>
      </p:sp>
      <p:sp>
        <p:nvSpPr>
          <p:cNvPr id="2" name="Text Placeholder 1">
            <a:extLst>
              <a:ext uri="{FF2B5EF4-FFF2-40B4-BE49-F238E27FC236}">
                <a16:creationId xmlns:a16="http://schemas.microsoft.com/office/drawing/2014/main" id="{489682A9-221B-45B5-BE76-D6B444A97A61}"/>
              </a:ext>
            </a:extLst>
          </p:cNvPr>
          <p:cNvSpPr>
            <a:spLocks noGrp="1"/>
          </p:cNvSpPr>
          <p:nvPr>
            <p:ph type="body" sz="quarter" idx="14"/>
          </p:nvPr>
        </p:nvSpPr>
        <p:spPr>
          <a:xfrm>
            <a:off x="304747" y="188095"/>
            <a:ext cx="11592000" cy="164212"/>
          </a:xfrm>
        </p:spPr>
        <p:txBody>
          <a:bodyPr/>
          <a:lstStyle/>
          <a:p>
            <a:r>
              <a:rPr kumimoji="0" lang="en-US" sz="1100" b="1" i="0" u="none" strike="noStrike" kern="1200" cap="none" spc="0" normalizeH="0" baseline="0" noProof="0" dirty="0">
                <a:ln>
                  <a:noFill/>
                </a:ln>
                <a:solidFill>
                  <a:srgbClr val="122769"/>
                </a:solidFill>
                <a:effectLst/>
                <a:uLnTx/>
                <a:uFillTx/>
                <a:latin typeface="Arial"/>
                <a:ea typeface="+mn-ea"/>
                <a:cs typeface="+mn-cs"/>
              </a:rPr>
              <a:t>Case Study</a:t>
            </a:r>
          </a:p>
        </p:txBody>
      </p:sp>
      <p:sp>
        <p:nvSpPr>
          <p:cNvPr id="3" name="Text Placeholder 2">
            <a:extLst>
              <a:ext uri="{FF2B5EF4-FFF2-40B4-BE49-F238E27FC236}">
                <a16:creationId xmlns:a16="http://schemas.microsoft.com/office/drawing/2014/main" id="{C9E6B1BB-CB5A-493F-94AF-214FD562B741}"/>
              </a:ext>
            </a:extLst>
          </p:cNvPr>
          <p:cNvSpPr>
            <a:spLocks noGrp="1"/>
          </p:cNvSpPr>
          <p:nvPr>
            <p:ph type="body" sz="quarter" idx="21"/>
          </p:nvPr>
        </p:nvSpPr>
        <p:spPr/>
        <p:txBody>
          <a:bodyPr/>
          <a:lstStyle/>
          <a:p>
            <a:endParaRPr lang="en-US"/>
          </a:p>
        </p:txBody>
      </p:sp>
      <p:sp>
        <p:nvSpPr>
          <p:cNvPr id="4" name="Rectangle: Rounded Corners 3">
            <a:extLst>
              <a:ext uri="{FF2B5EF4-FFF2-40B4-BE49-F238E27FC236}">
                <a16:creationId xmlns:a16="http://schemas.microsoft.com/office/drawing/2014/main" id="{B947D3A7-AE1A-5185-89A8-5C75AE63EE84}"/>
              </a:ext>
            </a:extLst>
          </p:cNvPr>
          <p:cNvSpPr/>
          <p:nvPr/>
        </p:nvSpPr>
        <p:spPr>
          <a:xfrm>
            <a:off x="389194" y="1235731"/>
            <a:ext cx="5577913" cy="3986611"/>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Rectangle 41">
            <a:extLst>
              <a:ext uri="{FF2B5EF4-FFF2-40B4-BE49-F238E27FC236}">
                <a16:creationId xmlns:a16="http://schemas.microsoft.com/office/drawing/2014/main" id="{67D1C59F-06B6-3946-7861-1A048E6A6220}"/>
              </a:ext>
            </a:extLst>
          </p:cNvPr>
          <p:cNvSpPr/>
          <p:nvPr/>
        </p:nvSpPr>
        <p:spPr>
          <a:xfrm>
            <a:off x="2315794" y="1299020"/>
            <a:ext cx="1833417" cy="5172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7030A0"/>
                </a:solidFill>
              </a:rPr>
              <a:t>Work Package</a:t>
            </a:r>
          </a:p>
        </p:txBody>
      </p:sp>
      <p:sp>
        <p:nvSpPr>
          <p:cNvPr id="44" name="TextBox 43">
            <a:extLst>
              <a:ext uri="{FF2B5EF4-FFF2-40B4-BE49-F238E27FC236}">
                <a16:creationId xmlns:a16="http://schemas.microsoft.com/office/drawing/2014/main" id="{90788179-63DB-C40E-8001-3A4F95FFB47C}"/>
              </a:ext>
            </a:extLst>
          </p:cNvPr>
          <p:cNvSpPr txBox="1"/>
          <p:nvPr/>
        </p:nvSpPr>
        <p:spPr>
          <a:xfrm>
            <a:off x="2315794" y="2009182"/>
            <a:ext cx="3320252" cy="2308324"/>
          </a:xfrm>
          <a:prstGeom prst="rect">
            <a:avLst/>
          </a:prstGeom>
          <a:noFill/>
        </p:spPr>
        <p:txBody>
          <a:bodyPr wrap="square" rtlCol="0">
            <a:spAutoFit/>
          </a:bodyPr>
          <a:lstStyle/>
          <a:p>
            <a:r>
              <a:rPr lang="en-US" sz="1600" dirty="0">
                <a:sym typeface="Wingdings" panose="05000000000000000000" pitchFamily="2" charset="2"/>
              </a:rPr>
              <a:t>Vendor assessment &amp; selection, Infrastructure assessment, Cost estimation, Knowledge evaluation</a:t>
            </a:r>
          </a:p>
          <a:p>
            <a:endParaRPr lang="en-US" sz="1600" dirty="0">
              <a:sym typeface="Wingdings" panose="05000000000000000000" pitchFamily="2" charset="2"/>
            </a:endParaRPr>
          </a:p>
          <a:p>
            <a:r>
              <a:rPr lang="en-US" sz="1600" dirty="0">
                <a:sym typeface="Wingdings" panose="05000000000000000000" pitchFamily="2" charset="2"/>
              </a:rPr>
              <a:t>HW &amp; SW procurement,  Testing support, Vendor communication, ORAN house setup, Training  </a:t>
            </a:r>
          </a:p>
          <a:p>
            <a:endParaRPr lang="en-US" sz="1600" dirty="0">
              <a:sym typeface="Wingdings" panose="05000000000000000000" pitchFamily="2" charset="2"/>
            </a:endParaRPr>
          </a:p>
          <a:p>
            <a:r>
              <a:rPr lang="en-US" sz="1600" dirty="0">
                <a:sym typeface="Wingdings" panose="05000000000000000000" pitchFamily="2" charset="2"/>
              </a:rPr>
              <a:t>Rollout support</a:t>
            </a:r>
            <a:endParaRPr lang="en-US" sz="1600" dirty="0"/>
          </a:p>
        </p:txBody>
      </p:sp>
      <p:grpSp>
        <p:nvGrpSpPr>
          <p:cNvPr id="45" name="Group 44">
            <a:extLst>
              <a:ext uri="{FF2B5EF4-FFF2-40B4-BE49-F238E27FC236}">
                <a16:creationId xmlns:a16="http://schemas.microsoft.com/office/drawing/2014/main" id="{6DA80BCF-F9AD-22E7-66A8-C281B2E2C574}"/>
              </a:ext>
            </a:extLst>
          </p:cNvPr>
          <p:cNvGrpSpPr/>
          <p:nvPr/>
        </p:nvGrpSpPr>
        <p:grpSpPr>
          <a:xfrm>
            <a:off x="621437" y="1683500"/>
            <a:ext cx="1535833" cy="3252485"/>
            <a:chOff x="731467" y="1243624"/>
            <a:chExt cx="2194613" cy="4799036"/>
          </a:xfrm>
          <a:solidFill>
            <a:schemeClr val="accent5"/>
          </a:solidFill>
        </p:grpSpPr>
        <p:sp>
          <p:nvSpPr>
            <p:cNvPr id="46" name="Freeform 25">
              <a:extLst>
                <a:ext uri="{FF2B5EF4-FFF2-40B4-BE49-F238E27FC236}">
                  <a16:creationId xmlns:a16="http://schemas.microsoft.com/office/drawing/2014/main" id="{639B0623-F041-25BD-4EF3-DBB46D6981E2}"/>
                </a:ext>
              </a:extLst>
            </p:cNvPr>
            <p:cNvSpPr>
              <a:spLocks/>
            </p:cNvSpPr>
            <p:nvPr/>
          </p:nvSpPr>
          <p:spPr bwMode="auto">
            <a:xfrm flipH="1">
              <a:off x="731467" y="2770142"/>
              <a:ext cx="2194613" cy="1746000"/>
            </a:xfrm>
            <a:custGeom>
              <a:avLst/>
              <a:gdLst>
                <a:gd name="connsiteX0" fmla="*/ 2194613 w 2194613"/>
                <a:gd name="connsiteY0" fmla="*/ 0 h 1825992"/>
                <a:gd name="connsiteX1" fmla="*/ 1879629 w 2194613"/>
                <a:gd name="connsiteY1" fmla="*/ 358115 h 1825992"/>
                <a:gd name="connsiteX2" fmla="*/ 1561222 w 2194613"/>
                <a:gd name="connsiteY2" fmla="*/ 0 h 1825992"/>
                <a:gd name="connsiteX3" fmla="*/ 1561222 w 2194613"/>
                <a:gd name="connsiteY3" fmla="*/ 348898 h 1825992"/>
                <a:gd name="connsiteX4" fmla="*/ 1561222 w 2194613"/>
                <a:gd name="connsiteY4" fmla="*/ 348898 h 1825992"/>
                <a:gd name="connsiteX5" fmla="*/ 1561222 w 2194613"/>
                <a:gd name="connsiteY5" fmla="*/ 617962 h 1825992"/>
                <a:gd name="connsiteX6" fmla="*/ 54780 w 2194613"/>
                <a:gd name="connsiteY6" fmla="*/ 617962 h 1825992"/>
                <a:gd name="connsiteX7" fmla="*/ 44509 w 2194613"/>
                <a:gd name="connsiteY7" fmla="*/ 619568 h 1825992"/>
                <a:gd name="connsiteX8" fmla="*/ 34237 w 2194613"/>
                <a:gd name="connsiteY8" fmla="*/ 624386 h 1825992"/>
                <a:gd name="connsiteX9" fmla="*/ 25108 w 2194613"/>
                <a:gd name="connsiteY9" fmla="*/ 630809 h 1825992"/>
                <a:gd name="connsiteX10" fmla="*/ 15978 w 2194613"/>
                <a:gd name="connsiteY10" fmla="*/ 640445 h 1825992"/>
                <a:gd name="connsiteX11" fmla="*/ 10271 w 2194613"/>
                <a:gd name="connsiteY11" fmla="*/ 651686 h 1825992"/>
                <a:gd name="connsiteX12" fmla="*/ 4565 w 2194613"/>
                <a:gd name="connsiteY12" fmla="*/ 664533 h 1825992"/>
                <a:gd name="connsiteX13" fmla="*/ 1141 w 2194613"/>
                <a:gd name="connsiteY13" fmla="*/ 678986 h 1825992"/>
                <a:gd name="connsiteX14" fmla="*/ 0 w 2194613"/>
                <a:gd name="connsiteY14" fmla="*/ 695045 h 1825992"/>
                <a:gd name="connsiteX15" fmla="*/ 0 w 2194613"/>
                <a:gd name="connsiteY15" fmla="*/ 892966 h 1825992"/>
                <a:gd name="connsiteX16" fmla="*/ 0 w 2194613"/>
                <a:gd name="connsiteY16" fmla="*/ 1104549 h 1825992"/>
                <a:gd name="connsiteX17" fmla="*/ 0 w 2194613"/>
                <a:gd name="connsiteY17" fmla="*/ 1194479 h 1825992"/>
                <a:gd name="connsiteX18" fmla="*/ 0 w 2194613"/>
                <a:gd name="connsiteY18" fmla="*/ 1274774 h 1825992"/>
                <a:gd name="connsiteX19" fmla="*/ 0 w 2194613"/>
                <a:gd name="connsiteY19" fmla="*/ 1302470 h 1825992"/>
                <a:gd name="connsiteX20" fmla="*/ 0 w 2194613"/>
                <a:gd name="connsiteY20" fmla="*/ 1392400 h 1825992"/>
                <a:gd name="connsiteX21" fmla="*/ 0 w 2194613"/>
                <a:gd name="connsiteY21" fmla="*/ 1472695 h 1825992"/>
                <a:gd name="connsiteX22" fmla="*/ 318407 w 2194613"/>
                <a:gd name="connsiteY22" fmla="*/ 1825992 h 1825992"/>
                <a:gd name="connsiteX23" fmla="*/ 627081 w 2194613"/>
                <a:gd name="connsiteY23" fmla="*/ 1474075 h 1825992"/>
                <a:gd name="connsiteX24" fmla="*/ 627081 w 2194613"/>
                <a:gd name="connsiteY24" fmla="*/ 1276154 h 1825992"/>
                <a:gd name="connsiteX25" fmla="*/ 631108 w 2194613"/>
                <a:gd name="connsiteY25" fmla="*/ 1271562 h 1825992"/>
                <a:gd name="connsiteX26" fmla="*/ 2139833 w 2194613"/>
                <a:gd name="connsiteY26" fmla="*/ 1271562 h 1825992"/>
                <a:gd name="connsiteX27" fmla="*/ 2151246 w 2194613"/>
                <a:gd name="connsiteY27" fmla="*/ 1269956 h 1825992"/>
                <a:gd name="connsiteX28" fmla="*/ 2161517 w 2194613"/>
                <a:gd name="connsiteY28" fmla="*/ 1265139 h 1825992"/>
                <a:gd name="connsiteX29" fmla="*/ 2170647 w 2194613"/>
                <a:gd name="connsiteY29" fmla="*/ 1258715 h 1825992"/>
                <a:gd name="connsiteX30" fmla="*/ 2178635 w 2194613"/>
                <a:gd name="connsiteY30" fmla="*/ 1249080 h 1825992"/>
                <a:gd name="connsiteX31" fmla="*/ 2185483 w 2194613"/>
                <a:gd name="connsiteY31" fmla="*/ 1237838 h 1825992"/>
                <a:gd name="connsiteX32" fmla="*/ 2190048 w 2194613"/>
                <a:gd name="connsiteY32" fmla="*/ 1223385 h 1825992"/>
                <a:gd name="connsiteX33" fmla="*/ 2193472 w 2194613"/>
                <a:gd name="connsiteY33" fmla="*/ 1208932 h 1825992"/>
                <a:gd name="connsiteX34" fmla="*/ 2194613 w 2194613"/>
                <a:gd name="connsiteY34" fmla="*/ 1194479 h 1825992"/>
                <a:gd name="connsiteX35" fmla="*/ 2194613 w 2194613"/>
                <a:gd name="connsiteY35" fmla="*/ 807458 h 1825992"/>
                <a:gd name="connsiteX36" fmla="*/ 2194613 w 2194613"/>
                <a:gd name="connsiteY36" fmla="*/ 725557 h 1825992"/>
                <a:gd name="connsiteX37" fmla="*/ 2194613 w 2194613"/>
                <a:gd name="connsiteY37" fmla="*/ 695045 h 1825992"/>
                <a:gd name="connsiteX38" fmla="*/ 2194613 w 2194613"/>
                <a:gd name="connsiteY38" fmla="*/ 373644 h 1825992"/>
                <a:gd name="connsiteX39" fmla="*/ 2194613 w 2194613"/>
                <a:gd name="connsiteY39" fmla="*/ 373644 h 1825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194613" h="1825992">
                  <a:moveTo>
                    <a:pt x="2194613" y="0"/>
                  </a:moveTo>
                  <a:lnTo>
                    <a:pt x="1879629" y="358115"/>
                  </a:lnTo>
                  <a:lnTo>
                    <a:pt x="1561222" y="0"/>
                  </a:lnTo>
                  <a:lnTo>
                    <a:pt x="1561222" y="348898"/>
                  </a:lnTo>
                  <a:lnTo>
                    <a:pt x="1561222" y="348898"/>
                  </a:lnTo>
                  <a:lnTo>
                    <a:pt x="1561222" y="617962"/>
                  </a:lnTo>
                  <a:lnTo>
                    <a:pt x="54780" y="617962"/>
                  </a:lnTo>
                  <a:lnTo>
                    <a:pt x="44509" y="619568"/>
                  </a:lnTo>
                  <a:lnTo>
                    <a:pt x="34237" y="624386"/>
                  </a:lnTo>
                  <a:lnTo>
                    <a:pt x="25108" y="630809"/>
                  </a:lnTo>
                  <a:lnTo>
                    <a:pt x="15978" y="640445"/>
                  </a:lnTo>
                  <a:lnTo>
                    <a:pt x="10271" y="651686"/>
                  </a:lnTo>
                  <a:lnTo>
                    <a:pt x="4565" y="664533"/>
                  </a:lnTo>
                  <a:lnTo>
                    <a:pt x="1141" y="678986"/>
                  </a:lnTo>
                  <a:lnTo>
                    <a:pt x="0" y="695045"/>
                  </a:lnTo>
                  <a:lnTo>
                    <a:pt x="0" y="892966"/>
                  </a:lnTo>
                  <a:lnTo>
                    <a:pt x="0" y="1104549"/>
                  </a:lnTo>
                  <a:lnTo>
                    <a:pt x="0" y="1194479"/>
                  </a:lnTo>
                  <a:lnTo>
                    <a:pt x="0" y="1274774"/>
                  </a:lnTo>
                  <a:lnTo>
                    <a:pt x="0" y="1302470"/>
                  </a:lnTo>
                  <a:lnTo>
                    <a:pt x="0" y="1392400"/>
                  </a:lnTo>
                  <a:lnTo>
                    <a:pt x="0" y="1472695"/>
                  </a:lnTo>
                  <a:lnTo>
                    <a:pt x="318407" y="1825992"/>
                  </a:lnTo>
                  <a:lnTo>
                    <a:pt x="627081" y="1474075"/>
                  </a:lnTo>
                  <a:lnTo>
                    <a:pt x="627081" y="1276154"/>
                  </a:lnTo>
                  <a:lnTo>
                    <a:pt x="631108" y="1271562"/>
                  </a:lnTo>
                  <a:lnTo>
                    <a:pt x="2139833" y="1271562"/>
                  </a:lnTo>
                  <a:lnTo>
                    <a:pt x="2151246" y="1269956"/>
                  </a:lnTo>
                  <a:lnTo>
                    <a:pt x="2161517" y="1265139"/>
                  </a:lnTo>
                  <a:lnTo>
                    <a:pt x="2170647" y="1258715"/>
                  </a:lnTo>
                  <a:lnTo>
                    <a:pt x="2178635" y="1249080"/>
                  </a:lnTo>
                  <a:lnTo>
                    <a:pt x="2185483" y="1237838"/>
                  </a:lnTo>
                  <a:lnTo>
                    <a:pt x="2190048" y="1223385"/>
                  </a:lnTo>
                  <a:lnTo>
                    <a:pt x="2193472" y="1208932"/>
                  </a:lnTo>
                  <a:lnTo>
                    <a:pt x="2194613" y="1194479"/>
                  </a:lnTo>
                  <a:lnTo>
                    <a:pt x="2194613" y="807458"/>
                  </a:lnTo>
                  <a:lnTo>
                    <a:pt x="2194613" y="725557"/>
                  </a:lnTo>
                  <a:lnTo>
                    <a:pt x="2194613" y="695045"/>
                  </a:lnTo>
                  <a:lnTo>
                    <a:pt x="2194613" y="373644"/>
                  </a:lnTo>
                  <a:lnTo>
                    <a:pt x="2194613" y="373644"/>
                  </a:lnTo>
                  <a:close/>
                </a:path>
              </a:pathLst>
            </a:custGeom>
            <a:grpFill/>
            <a:ln w="1270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67274" eaLnBrk="1" fontAlgn="auto" latinLnBrk="0" hangingPunct="1">
                <a:lnSpc>
                  <a:spcPct val="100000"/>
                </a:lnSpc>
                <a:spcBef>
                  <a:spcPts val="0"/>
                </a:spcBef>
                <a:spcAft>
                  <a:spcPts val="0"/>
                </a:spcAft>
                <a:buClrTx/>
                <a:buSzTx/>
                <a:buFontTx/>
                <a:buNone/>
                <a:tabLst/>
                <a:defRPr/>
              </a:pPr>
              <a:endParaRPr kumimoji="0" lang="en-GB" sz="1904" b="0" i="0" u="none" strike="noStrike" kern="0" cap="none" spc="0" normalizeH="0" baseline="0" noProof="0">
                <a:ln>
                  <a:noFill/>
                </a:ln>
                <a:solidFill>
                  <a:srgbClr val="4D4D4D"/>
                </a:solidFill>
                <a:effectLst/>
                <a:uLnTx/>
                <a:uFillTx/>
              </a:endParaRPr>
            </a:p>
          </p:txBody>
        </p:sp>
        <p:sp>
          <p:nvSpPr>
            <p:cNvPr id="47" name="Freeform 26">
              <a:extLst>
                <a:ext uri="{FF2B5EF4-FFF2-40B4-BE49-F238E27FC236}">
                  <a16:creationId xmlns:a16="http://schemas.microsoft.com/office/drawing/2014/main" id="{B174F24C-1241-E10B-76A4-AA5482F80322}"/>
                </a:ext>
              </a:extLst>
            </p:cNvPr>
            <p:cNvSpPr>
              <a:spLocks/>
            </p:cNvSpPr>
            <p:nvPr/>
          </p:nvSpPr>
          <p:spPr bwMode="auto">
            <a:xfrm>
              <a:off x="731467" y="1243624"/>
              <a:ext cx="2194613" cy="1746000"/>
            </a:xfrm>
            <a:custGeom>
              <a:avLst/>
              <a:gdLst>
                <a:gd name="connsiteX0" fmla="*/ 2194613 w 2194613"/>
                <a:gd name="connsiteY0" fmla="*/ 0 h 1825992"/>
                <a:gd name="connsiteX1" fmla="*/ 1879629 w 2194613"/>
                <a:gd name="connsiteY1" fmla="*/ 358115 h 1825992"/>
                <a:gd name="connsiteX2" fmla="*/ 1561222 w 2194613"/>
                <a:gd name="connsiteY2" fmla="*/ 0 h 1825992"/>
                <a:gd name="connsiteX3" fmla="*/ 1561222 w 2194613"/>
                <a:gd name="connsiteY3" fmla="*/ 348898 h 1825992"/>
                <a:gd name="connsiteX4" fmla="*/ 1561222 w 2194613"/>
                <a:gd name="connsiteY4" fmla="*/ 348898 h 1825992"/>
                <a:gd name="connsiteX5" fmla="*/ 1561222 w 2194613"/>
                <a:gd name="connsiteY5" fmla="*/ 617962 h 1825992"/>
                <a:gd name="connsiteX6" fmla="*/ 54780 w 2194613"/>
                <a:gd name="connsiteY6" fmla="*/ 617962 h 1825992"/>
                <a:gd name="connsiteX7" fmla="*/ 44509 w 2194613"/>
                <a:gd name="connsiteY7" fmla="*/ 619568 h 1825992"/>
                <a:gd name="connsiteX8" fmla="*/ 34237 w 2194613"/>
                <a:gd name="connsiteY8" fmla="*/ 624386 h 1825992"/>
                <a:gd name="connsiteX9" fmla="*/ 25108 w 2194613"/>
                <a:gd name="connsiteY9" fmla="*/ 630809 h 1825992"/>
                <a:gd name="connsiteX10" fmla="*/ 15978 w 2194613"/>
                <a:gd name="connsiteY10" fmla="*/ 640445 h 1825992"/>
                <a:gd name="connsiteX11" fmla="*/ 10271 w 2194613"/>
                <a:gd name="connsiteY11" fmla="*/ 651686 h 1825992"/>
                <a:gd name="connsiteX12" fmla="*/ 4565 w 2194613"/>
                <a:gd name="connsiteY12" fmla="*/ 664533 h 1825992"/>
                <a:gd name="connsiteX13" fmla="*/ 1141 w 2194613"/>
                <a:gd name="connsiteY13" fmla="*/ 678986 h 1825992"/>
                <a:gd name="connsiteX14" fmla="*/ 0 w 2194613"/>
                <a:gd name="connsiteY14" fmla="*/ 695045 h 1825992"/>
                <a:gd name="connsiteX15" fmla="*/ 0 w 2194613"/>
                <a:gd name="connsiteY15" fmla="*/ 892966 h 1825992"/>
                <a:gd name="connsiteX16" fmla="*/ 0 w 2194613"/>
                <a:gd name="connsiteY16" fmla="*/ 1104549 h 1825992"/>
                <a:gd name="connsiteX17" fmla="*/ 0 w 2194613"/>
                <a:gd name="connsiteY17" fmla="*/ 1194479 h 1825992"/>
                <a:gd name="connsiteX18" fmla="*/ 0 w 2194613"/>
                <a:gd name="connsiteY18" fmla="*/ 1274774 h 1825992"/>
                <a:gd name="connsiteX19" fmla="*/ 0 w 2194613"/>
                <a:gd name="connsiteY19" fmla="*/ 1302470 h 1825992"/>
                <a:gd name="connsiteX20" fmla="*/ 0 w 2194613"/>
                <a:gd name="connsiteY20" fmla="*/ 1392400 h 1825992"/>
                <a:gd name="connsiteX21" fmla="*/ 0 w 2194613"/>
                <a:gd name="connsiteY21" fmla="*/ 1472695 h 1825992"/>
                <a:gd name="connsiteX22" fmla="*/ 318407 w 2194613"/>
                <a:gd name="connsiteY22" fmla="*/ 1825992 h 1825992"/>
                <a:gd name="connsiteX23" fmla="*/ 627081 w 2194613"/>
                <a:gd name="connsiteY23" fmla="*/ 1474075 h 1825992"/>
                <a:gd name="connsiteX24" fmla="*/ 627081 w 2194613"/>
                <a:gd name="connsiteY24" fmla="*/ 1276154 h 1825992"/>
                <a:gd name="connsiteX25" fmla="*/ 631108 w 2194613"/>
                <a:gd name="connsiteY25" fmla="*/ 1271562 h 1825992"/>
                <a:gd name="connsiteX26" fmla="*/ 2139833 w 2194613"/>
                <a:gd name="connsiteY26" fmla="*/ 1271562 h 1825992"/>
                <a:gd name="connsiteX27" fmla="*/ 2151246 w 2194613"/>
                <a:gd name="connsiteY27" fmla="*/ 1269956 h 1825992"/>
                <a:gd name="connsiteX28" fmla="*/ 2161517 w 2194613"/>
                <a:gd name="connsiteY28" fmla="*/ 1265139 h 1825992"/>
                <a:gd name="connsiteX29" fmla="*/ 2170647 w 2194613"/>
                <a:gd name="connsiteY29" fmla="*/ 1258715 h 1825992"/>
                <a:gd name="connsiteX30" fmla="*/ 2178635 w 2194613"/>
                <a:gd name="connsiteY30" fmla="*/ 1249080 h 1825992"/>
                <a:gd name="connsiteX31" fmla="*/ 2185483 w 2194613"/>
                <a:gd name="connsiteY31" fmla="*/ 1237838 h 1825992"/>
                <a:gd name="connsiteX32" fmla="*/ 2190048 w 2194613"/>
                <a:gd name="connsiteY32" fmla="*/ 1223385 h 1825992"/>
                <a:gd name="connsiteX33" fmla="*/ 2193472 w 2194613"/>
                <a:gd name="connsiteY33" fmla="*/ 1208932 h 1825992"/>
                <a:gd name="connsiteX34" fmla="*/ 2194613 w 2194613"/>
                <a:gd name="connsiteY34" fmla="*/ 1194479 h 1825992"/>
                <a:gd name="connsiteX35" fmla="*/ 2194613 w 2194613"/>
                <a:gd name="connsiteY35" fmla="*/ 807458 h 1825992"/>
                <a:gd name="connsiteX36" fmla="*/ 2194613 w 2194613"/>
                <a:gd name="connsiteY36" fmla="*/ 725557 h 1825992"/>
                <a:gd name="connsiteX37" fmla="*/ 2194613 w 2194613"/>
                <a:gd name="connsiteY37" fmla="*/ 695045 h 1825992"/>
                <a:gd name="connsiteX38" fmla="*/ 2194613 w 2194613"/>
                <a:gd name="connsiteY38" fmla="*/ 373644 h 1825992"/>
                <a:gd name="connsiteX39" fmla="*/ 2194613 w 2194613"/>
                <a:gd name="connsiteY39" fmla="*/ 373644 h 1825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194613" h="1825992">
                  <a:moveTo>
                    <a:pt x="2194613" y="0"/>
                  </a:moveTo>
                  <a:lnTo>
                    <a:pt x="1879629" y="358115"/>
                  </a:lnTo>
                  <a:lnTo>
                    <a:pt x="1561222" y="0"/>
                  </a:lnTo>
                  <a:lnTo>
                    <a:pt x="1561222" y="348898"/>
                  </a:lnTo>
                  <a:lnTo>
                    <a:pt x="1561222" y="348898"/>
                  </a:lnTo>
                  <a:lnTo>
                    <a:pt x="1561222" y="617962"/>
                  </a:lnTo>
                  <a:lnTo>
                    <a:pt x="54780" y="617962"/>
                  </a:lnTo>
                  <a:lnTo>
                    <a:pt x="44509" y="619568"/>
                  </a:lnTo>
                  <a:lnTo>
                    <a:pt x="34237" y="624386"/>
                  </a:lnTo>
                  <a:lnTo>
                    <a:pt x="25108" y="630809"/>
                  </a:lnTo>
                  <a:lnTo>
                    <a:pt x="15978" y="640445"/>
                  </a:lnTo>
                  <a:lnTo>
                    <a:pt x="10271" y="651686"/>
                  </a:lnTo>
                  <a:lnTo>
                    <a:pt x="4565" y="664533"/>
                  </a:lnTo>
                  <a:lnTo>
                    <a:pt x="1141" y="678986"/>
                  </a:lnTo>
                  <a:lnTo>
                    <a:pt x="0" y="695045"/>
                  </a:lnTo>
                  <a:lnTo>
                    <a:pt x="0" y="892966"/>
                  </a:lnTo>
                  <a:lnTo>
                    <a:pt x="0" y="1104549"/>
                  </a:lnTo>
                  <a:lnTo>
                    <a:pt x="0" y="1194479"/>
                  </a:lnTo>
                  <a:lnTo>
                    <a:pt x="0" y="1274774"/>
                  </a:lnTo>
                  <a:lnTo>
                    <a:pt x="0" y="1302470"/>
                  </a:lnTo>
                  <a:lnTo>
                    <a:pt x="0" y="1392400"/>
                  </a:lnTo>
                  <a:lnTo>
                    <a:pt x="0" y="1472695"/>
                  </a:lnTo>
                  <a:lnTo>
                    <a:pt x="318407" y="1825992"/>
                  </a:lnTo>
                  <a:lnTo>
                    <a:pt x="627081" y="1474075"/>
                  </a:lnTo>
                  <a:lnTo>
                    <a:pt x="627081" y="1276154"/>
                  </a:lnTo>
                  <a:lnTo>
                    <a:pt x="631108" y="1271562"/>
                  </a:lnTo>
                  <a:lnTo>
                    <a:pt x="2139833" y="1271562"/>
                  </a:lnTo>
                  <a:lnTo>
                    <a:pt x="2151246" y="1269956"/>
                  </a:lnTo>
                  <a:lnTo>
                    <a:pt x="2161517" y="1265139"/>
                  </a:lnTo>
                  <a:lnTo>
                    <a:pt x="2170647" y="1258715"/>
                  </a:lnTo>
                  <a:lnTo>
                    <a:pt x="2178635" y="1249080"/>
                  </a:lnTo>
                  <a:lnTo>
                    <a:pt x="2185483" y="1237838"/>
                  </a:lnTo>
                  <a:lnTo>
                    <a:pt x="2190048" y="1223385"/>
                  </a:lnTo>
                  <a:lnTo>
                    <a:pt x="2193472" y="1208932"/>
                  </a:lnTo>
                  <a:lnTo>
                    <a:pt x="2194613" y="1194479"/>
                  </a:lnTo>
                  <a:lnTo>
                    <a:pt x="2194613" y="807458"/>
                  </a:lnTo>
                  <a:lnTo>
                    <a:pt x="2194613" y="725557"/>
                  </a:lnTo>
                  <a:lnTo>
                    <a:pt x="2194613" y="695045"/>
                  </a:lnTo>
                  <a:lnTo>
                    <a:pt x="2194613" y="373644"/>
                  </a:lnTo>
                  <a:lnTo>
                    <a:pt x="2194613" y="373644"/>
                  </a:lnTo>
                  <a:close/>
                </a:path>
              </a:pathLst>
            </a:custGeom>
            <a:grpFill/>
            <a:ln w="1270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67274" eaLnBrk="1" fontAlgn="auto" latinLnBrk="0" hangingPunct="1">
                <a:lnSpc>
                  <a:spcPct val="100000"/>
                </a:lnSpc>
                <a:spcBef>
                  <a:spcPts val="0"/>
                </a:spcBef>
                <a:spcAft>
                  <a:spcPts val="0"/>
                </a:spcAft>
                <a:buClrTx/>
                <a:buSzTx/>
                <a:buFontTx/>
                <a:buNone/>
                <a:tabLst/>
                <a:defRPr/>
              </a:pPr>
              <a:endParaRPr kumimoji="0" lang="en-GB" sz="1904" b="0" i="0" u="none" strike="noStrike" kern="0" cap="none" spc="0" normalizeH="0" baseline="0" noProof="0" dirty="0">
                <a:ln>
                  <a:noFill/>
                </a:ln>
                <a:solidFill>
                  <a:srgbClr val="4D4D4D"/>
                </a:solidFill>
                <a:effectLst/>
                <a:uLnTx/>
                <a:uFillTx/>
              </a:endParaRPr>
            </a:p>
          </p:txBody>
        </p:sp>
        <p:sp>
          <p:nvSpPr>
            <p:cNvPr id="48" name="Freeform 29">
              <a:extLst>
                <a:ext uri="{FF2B5EF4-FFF2-40B4-BE49-F238E27FC236}">
                  <a16:creationId xmlns:a16="http://schemas.microsoft.com/office/drawing/2014/main" id="{7CA6C659-CF76-4B9C-D37E-69854F5EA929}"/>
                </a:ext>
              </a:extLst>
            </p:cNvPr>
            <p:cNvSpPr>
              <a:spLocks/>
            </p:cNvSpPr>
            <p:nvPr/>
          </p:nvSpPr>
          <p:spPr bwMode="auto">
            <a:xfrm>
              <a:off x="731467" y="4296660"/>
              <a:ext cx="2194613" cy="1746000"/>
            </a:xfrm>
            <a:custGeom>
              <a:avLst/>
              <a:gdLst>
                <a:gd name="connsiteX0" fmla="*/ 2194613 w 2194613"/>
                <a:gd name="connsiteY0" fmla="*/ 0 h 1825992"/>
                <a:gd name="connsiteX1" fmla="*/ 1879629 w 2194613"/>
                <a:gd name="connsiteY1" fmla="*/ 358115 h 1825992"/>
                <a:gd name="connsiteX2" fmla="*/ 1561222 w 2194613"/>
                <a:gd name="connsiteY2" fmla="*/ 0 h 1825992"/>
                <a:gd name="connsiteX3" fmla="*/ 1561222 w 2194613"/>
                <a:gd name="connsiteY3" fmla="*/ 348898 h 1825992"/>
                <a:gd name="connsiteX4" fmla="*/ 1561222 w 2194613"/>
                <a:gd name="connsiteY4" fmla="*/ 348898 h 1825992"/>
                <a:gd name="connsiteX5" fmla="*/ 1561222 w 2194613"/>
                <a:gd name="connsiteY5" fmla="*/ 617962 h 1825992"/>
                <a:gd name="connsiteX6" fmla="*/ 54780 w 2194613"/>
                <a:gd name="connsiteY6" fmla="*/ 617962 h 1825992"/>
                <a:gd name="connsiteX7" fmla="*/ 44509 w 2194613"/>
                <a:gd name="connsiteY7" fmla="*/ 619568 h 1825992"/>
                <a:gd name="connsiteX8" fmla="*/ 34237 w 2194613"/>
                <a:gd name="connsiteY8" fmla="*/ 624386 h 1825992"/>
                <a:gd name="connsiteX9" fmla="*/ 25108 w 2194613"/>
                <a:gd name="connsiteY9" fmla="*/ 630809 h 1825992"/>
                <a:gd name="connsiteX10" fmla="*/ 15978 w 2194613"/>
                <a:gd name="connsiteY10" fmla="*/ 640445 h 1825992"/>
                <a:gd name="connsiteX11" fmla="*/ 10271 w 2194613"/>
                <a:gd name="connsiteY11" fmla="*/ 651686 h 1825992"/>
                <a:gd name="connsiteX12" fmla="*/ 4565 w 2194613"/>
                <a:gd name="connsiteY12" fmla="*/ 664533 h 1825992"/>
                <a:gd name="connsiteX13" fmla="*/ 1141 w 2194613"/>
                <a:gd name="connsiteY13" fmla="*/ 678986 h 1825992"/>
                <a:gd name="connsiteX14" fmla="*/ 0 w 2194613"/>
                <a:gd name="connsiteY14" fmla="*/ 695045 h 1825992"/>
                <a:gd name="connsiteX15" fmla="*/ 0 w 2194613"/>
                <a:gd name="connsiteY15" fmla="*/ 892966 h 1825992"/>
                <a:gd name="connsiteX16" fmla="*/ 0 w 2194613"/>
                <a:gd name="connsiteY16" fmla="*/ 1104549 h 1825992"/>
                <a:gd name="connsiteX17" fmla="*/ 0 w 2194613"/>
                <a:gd name="connsiteY17" fmla="*/ 1194479 h 1825992"/>
                <a:gd name="connsiteX18" fmla="*/ 0 w 2194613"/>
                <a:gd name="connsiteY18" fmla="*/ 1274774 h 1825992"/>
                <a:gd name="connsiteX19" fmla="*/ 0 w 2194613"/>
                <a:gd name="connsiteY19" fmla="*/ 1302470 h 1825992"/>
                <a:gd name="connsiteX20" fmla="*/ 0 w 2194613"/>
                <a:gd name="connsiteY20" fmla="*/ 1392400 h 1825992"/>
                <a:gd name="connsiteX21" fmla="*/ 0 w 2194613"/>
                <a:gd name="connsiteY21" fmla="*/ 1472695 h 1825992"/>
                <a:gd name="connsiteX22" fmla="*/ 318407 w 2194613"/>
                <a:gd name="connsiteY22" fmla="*/ 1825992 h 1825992"/>
                <a:gd name="connsiteX23" fmla="*/ 627081 w 2194613"/>
                <a:gd name="connsiteY23" fmla="*/ 1474075 h 1825992"/>
                <a:gd name="connsiteX24" fmla="*/ 627081 w 2194613"/>
                <a:gd name="connsiteY24" fmla="*/ 1276154 h 1825992"/>
                <a:gd name="connsiteX25" fmla="*/ 631108 w 2194613"/>
                <a:gd name="connsiteY25" fmla="*/ 1271562 h 1825992"/>
                <a:gd name="connsiteX26" fmla="*/ 2139833 w 2194613"/>
                <a:gd name="connsiteY26" fmla="*/ 1271562 h 1825992"/>
                <a:gd name="connsiteX27" fmla="*/ 2151246 w 2194613"/>
                <a:gd name="connsiteY27" fmla="*/ 1269956 h 1825992"/>
                <a:gd name="connsiteX28" fmla="*/ 2161517 w 2194613"/>
                <a:gd name="connsiteY28" fmla="*/ 1265139 h 1825992"/>
                <a:gd name="connsiteX29" fmla="*/ 2170647 w 2194613"/>
                <a:gd name="connsiteY29" fmla="*/ 1258715 h 1825992"/>
                <a:gd name="connsiteX30" fmla="*/ 2178635 w 2194613"/>
                <a:gd name="connsiteY30" fmla="*/ 1249080 h 1825992"/>
                <a:gd name="connsiteX31" fmla="*/ 2185483 w 2194613"/>
                <a:gd name="connsiteY31" fmla="*/ 1237838 h 1825992"/>
                <a:gd name="connsiteX32" fmla="*/ 2190048 w 2194613"/>
                <a:gd name="connsiteY32" fmla="*/ 1223385 h 1825992"/>
                <a:gd name="connsiteX33" fmla="*/ 2193472 w 2194613"/>
                <a:gd name="connsiteY33" fmla="*/ 1208932 h 1825992"/>
                <a:gd name="connsiteX34" fmla="*/ 2194613 w 2194613"/>
                <a:gd name="connsiteY34" fmla="*/ 1194479 h 1825992"/>
                <a:gd name="connsiteX35" fmla="*/ 2194613 w 2194613"/>
                <a:gd name="connsiteY35" fmla="*/ 807458 h 1825992"/>
                <a:gd name="connsiteX36" fmla="*/ 2194613 w 2194613"/>
                <a:gd name="connsiteY36" fmla="*/ 725557 h 1825992"/>
                <a:gd name="connsiteX37" fmla="*/ 2194613 w 2194613"/>
                <a:gd name="connsiteY37" fmla="*/ 695045 h 1825992"/>
                <a:gd name="connsiteX38" fmla="*/ 2194613 w 2194613"/>
                <a:gd name="connsiteY38" fmla="*/ 373644 h 1825992"/>
                <a:gd name="connsiteX39" fmla="*/ 2194613 w 2194613"/>
                <a:gd name="connsiteY39" fmla="*/ 373644 h 1825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194613" h="1825992">
                  <a:moveTo>
                    <a:pt x="2194613" y="0"/>
                  </a:moveTo>
                  <a:lnTo>
                    <a:pt x="1879629" y="358115"/>
                  </a:lnTo>
                  <a:lnTo>
                    <a:pt x="1561222" y="0"/>
                  </a:lnTo>
                  <a:lnTo>
                    <a:pt x="1561222" y="348898"/>
                  </a:lnTo>
                  <a:lnTo>
                    <a:pt x="1561222" y="348898"/>
                  </a:lnTo>
                  <a:lnTo>
                    <a:pt x="1561222" y="617962"/>
                  </a:lnTo>
                  <a:lnTo>
                    <a:pt x="54780" y="617962"/>
                  </a:lnTo>
                  <a:lnTo>
                    <a:pt x="44509" y="619568"/>
                  </a:lnTo>
                  <a:lnTo>
                    <a:pt x="34237" y="624386"/>
                  </a:lnTo>
                  <a:lnTo>
                    <a:pt x="25108" y="630809"/>
                  </a:lnTo>
                  <a:lnTo>
                    <a:pt x="15978" y="640445"/>
                  </a:lnTo>
                  <a:lnTo>
                    <a:pt x="10271" y="651686"/>
                  </a:lnTo>
                  <a:lnTo>
                    <a:pt x="4565" y="664533"/>
                  </a:lnTo>
                  <a:lnTo>
                    <a:pt x="1141" y="678986"/>
                  </a:lnTo>
                  <a:lnTo>
                    <a:pt x="0" y="695045"/>
                  </a:lnTo>
                  <a:lnTo>
                    <a:pt x="0" y="892966"/>
                  </a:lnTo>
                  <a:lnTo>
                    <a:pt x="0" y="1104549"/>
                  </a:lnTo>
                  <a:lnTo>
                    <a:pt x="0" y="1194479"/>
                  </a:lnTo>
                  <a:lnTo>
                    <a:pt x="0" y="1274774"/>
                  </a:lnTo>
                  <a:lnTo>
                    <a:pt x="0" y="1302470"/>
                  </a:lnTo>
                  <a:lnTo>
                    <a:pt x="0" y="1392400"/>
                  </a:lnTo>
                  <a:lnTo>
                    <a:pt x="0" y="1472695"/>
                  </a:lnTo>
                  <a:lnTo>
                    <a:pt x="318407" y="1825992"/>
                  </a:lnTo>
                  <a:lnTo>
                    <a:pt x="627081" y="1474075"/>
                  </a:lnTo>
                  <a:lnTo>
                    <a:pt x="627081" y="1276154"/>
                  </a:lnTo>
                  <a:lnTo>
                    <a:pt x="631108" y="1271562"/>
                  </a:lnTo>
                  <a:lnTo>
                    <a:pt x="2139833" y="1271562"/>
                  </a:lnTo>
                  <a:lnTo>
                    <a:pt x="2151246" y="1269956"/>
                  </a:lnTo>
                  <a:lnTo>
                    <a:pt x="2161517" y="1265139"/>
                  </a:lnTo>
                  <a:lnTo>
                    <a:pt x="2170647" y="1258715"/>
                  </a:lnTo>
                  <a:lnTo>
                    <a:pt x="2178635" y="1249080"/>
                  </a:lnTo>
                  <a:lnTo>
                    <a:pt x="2185483" y="1237838"/>
                  </a:lnTo>
                  <a:lnTo>
                    <a:pt x="2190048" y="1223385"/>
                  </a:lnTo>
                  <a:lnTo>
                    <a:pt x="2193472" y="1208932"/>
                  </a:lnTo>
                  <a:lnTo>
                    <a:pt x="2194613" y="1194479"/>
                  </a:lnTo>
                  <a:lnTo>
                    <a:pt x="2194613" y="807458"/>
                  </a:lnTo>
                  <a:lnTo>
                    <a:pt x="2194613" y="725557"/>
                  </a:lnTo>
                  <a:lnTo>
                    <a:pt x="2194613" y="695045"/>
                  </a:lnTo>
                  <a:lnTo>
                    <a:pt x="2194613" y="373644"/>
                  </a:lnTo>
                  <a:lnTo>
                    <a:pt x="2194613" y="373644"/>
                  </a:lnTo>
                  <a:close/>
                </a:path>
              </a:pathLst>
            </a:custGeom>
            <a:grpFill/>
            <a:ln w="1270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67274" eaLnBrk="1" fontAlgn="auto" latinLnBrk="0" hangingPunct="1">
                <a:lnSpc>
                  <a:spcPct val="100000"/>
                </a:lnSpc>
                <a:spcBef>
                  <a:spcPts val="0"/>
                </a:spcBef>
                <a:spcAft>
                  <a:spcPts val="0"/>
                </a:spcAft>
                <a:buClrTx/>
                <a:buSzTx/>
                <a:buFontTx/>
                <a:buNone/>
                <a:tabLst/>
                <a:defRPr/>
              </a:pPr>
              <a:endParaRPr kumimoji="0" lang="en-GB" sz="1904" b="0" i="0" u="none" strike="noStrike" kern="0" cap="none" spc="0" normalizeH="0" baseline="0" noProof="0">
                <a:ln>
                  <a:noFill/>
                </a:ln>
                <a:solidFill>
                  <a:srgbClr val="4D4D4D"/>
                </a:solidFill>
                <a:effectLst/>
                <a:uLnTx/>
                <a:uFillTx/>
              </a:endParaRPr>
            </a:p>
          </p:txBody>
        </p:sp>
        <p:sp>
          <p:nvSpPr>
            <p:cNvPr id="49" name="TextBox 48">
              <a:extLst>
                <a:ext uri="{FF2B5EF4-FFF2-40B4-BE49-F238E27FC236}">
                  <a16:creationId xmlns:a16="http://schemas.microsoft.com/office/drawing/2014/main" id="{AE047D97-9D94-E7F2-65A4-B3F2411BDC5C}"/>
                </a:ext>
              </a:extLst>
            </p:cNvPr>
            <p:cNvSpPr txBox="1"/>
            <p:nvPr/>
          </p:nvSpPr>
          <p:spPr>
            <a:xfrm>
              <a:off x="993395" y="1787576"/>
              <a:ext cx="1670756" cy="680488"/>
            </a:xfrm>
            <a:prstGeom prst="rect">
              <a:avLst/>
            </a:prstGeom>
            <a:grpFill/>
          </p:spPr>
          <p:txBody>
            <a:bodyPr vert="horz" wrap="square" lIns="0" tIns="0" rIns="0" bIns="0" rtlCol="0" anchor="ctr" anchorCtr="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895350" eaLnBrk="1" fontAlgn="auto" latinLnBrk="0" hangingPunct="1">
                <a:lnSpc>
                  <a:spcPct val="100000"/>
                </a:lnSpc>
                <a:spcBef>
                  <a:spcPts val="0"/>
                </a:spcBef>
                <a:spcAft>
                  <a:spcPts val="0"/>
                </a:spcAft>
                <a:buClr>
                  <a:srgbClr val="D1D1D1"/>
                </a:buClr>
                <a:buSzTx/>
                <a:buFontTx/>
                <a:buNone/>
                <a:tabLst/>
                <a:defRPr/>
              </a:pPr>
              <a:r>
                <a:rPr kumimoji="0" lang="en-US" sz="1400" b="0" i="0" u="none" strike="noStrike" kern="0" cap="none" spc="0" normalizeH="0" baseline="0" noProof="0" dirty="0">
                  <a:ln>
                    <a:noFill/>
                  </a:ln>
                  <a:solidFill>
                    <a:srgbClr val="4D4D4D"/>
                  </a:solidFill>
                  <a:effectLst/>
                  <a:uLnTx/>
                  <a:uFillTx/>
                  <a:latin typeface="Arial"/>
                </a:rPr>
                <a:t>Phase 1 deliverable</a:t>
              </a:r>
            </a:p>
          </p:txBody>
        </p:sp>
        <p:sp>
          <p:nvSpPr>
            <p:cNvPr id="50" name="TextBox 49">
              <a:extLst>
                <a:ext uri="{FF2B5EF4-FFF2-40B4-BE49-F238E27FC236}">
                  <a16:creationId xmlns:a16="http://schemas.microsoft.com/office/drawing/2014/main" id="{58CAD0A3-72D9-89FB-C072-83643F0C62D3}"/>
                </a:ext>
              </a:extLst>
            </p:cNvPr>
            <p:cNvSpPr txBox="1"/>
            <p:nvPr/>
          </p:nvSpPr>
          <p:spPr>
            <a:xfrm>
              <a:off x="993395" y="3310855"/>
              <a:ext cx="1670756" cy="680488"/>
            </a:xfrm>
            <a:prstGeom prst="rect">
              <a:avLst/>
            </a:prstGeom>
            <a:grpFill/>
          </p:spPr>
          <p:txBody>
            <a:bodyPr vert="horz" wrap="square" lIns="0" tIns="0" rIns="0" bIns="0" rtlCol="0" anchor="ctr" anchorCtr="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895350" eaLnBrk="1" fontAlgn="auto" latinLnBrk="0" hangingPunct="1">
                <a:lnSpc>
                  <a:spcPct val="100000"/>
                </a:lnSpc>
                <a:spcBef>
                  <a:spcPts val="0"/>
                </a:spcBef>
                <a:spcAft>
                  <a:spcPts val="0"/>
                </a:spcAft>
                <a:buClr>
                  <a:srgbClr val="D1D1D1"/>
                </a:buClr>
                <a:buSzTx/>
                <a:buFontTx/>
                <a:buNone/>
                <a:tabLst/>
                <a:defRPr/>
              </a:pPr>
              <a:r>
                <a:rPr kumimoji="0" lang="en-US" sz="1400" b="0" i="0" u="none" strike="noStrike" kern="0" cap="none" spc="0" normalizeH="0" baseline="0" noProof="0" dirty="0">
                  <a:ln>
                    <a:noFill/>
                  </a:ln>
                  <a:solidFill>
                    <a:srgbClr val="4D4D4D"/>
                  </a:solidFill>
                  <a:effectLst/>
                  <a:uLnTx/>
                  <a:uFillTx/>
                  <a:latin typeface="Arial"/>
                </a:rPr>
                <a:t>Phase 2 deliverable</a:t>
              </a:r>
            </a:p>
          </p:txBody>
        </p:sp>
        <p:sp>
          <p:nvSpPr>
            <p:cNvPr id="51" name="TextBox 50">
              <a:extLst>
                <a:ext uri="{FF2B5EF4-FFF2-40B4-BE49-F238E27FC236}">
                  <a16:creationId xmlns:a16="http://schemas.microsoft.com/office/drawing/2014/main" id="{051C5DEC-7282-07EF-BF68-B2BBC68B4C18}"/>
                </a:ext>
              </a:extLst>
            </p:cNvPr>
            <p:cNvSpPr txBox="1"/>
            <p:nvPr/>
          </p:nvSpPr>
          <p:spPr>
            <a:xfrm>
              <a:off x="993395" y="4848650"/>
              <a:ext cx="1670756" cy="680488"/>
            </a:xfrm>
            <a:prstGeom prst="rect">
              <a:avLst/>
            </a:prstGeom>
            <a:grpFill/>
          </p:spPr>
          <p:txBody>
            <a:bodyPr vert="horz" wrap="square" lIns="0" tIns="0" rIns="0" bIns="0" rtlCol="0" anchor="ctr" anchorCtr="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895350" eaLnBrk="1" fontAlgn="auto" latinLnBrk="0" hangingPunct="1">
                <a:lnSpc>
                  <a:spcPct val="100000"/>
                </a:lnSpc>
                <a:spcBef>
                  <a:spcPts val="0"/>
                </a:spcBef>
                <a:spcAft>
                  <a:spcPts val="0"/>
                </a:spcAft>
                <a:buClr>
                  <a:srgbClr val="D1D1D1"/>
                </a:buClr>
                <a:buSzTx/>
                <a:buFontTx/>
                <a:buNone/>
                <a:tabLst/>
                <a:defRPr/>
              </a:pPr>
              <a:r>
                <a:rPr kumimoji="0" lang="en-US" sz="1400" b="0" i="0" u="none" strike="noStrike" kern="0" cap="none" spc="0" normalizeH="0" baseline="0" noProof="0" dirty="0">
                  <a:ln>
                    <a:noFill/>
                  </a:ln>
                  <a:solidFill>
                    <a:srgbClr val="4D4D4D"/>
                  </a:solidFill>
                  <a:effectLst/>
                  <a:uLnTx/>
                  <a:uFillTx/>
                  <a:latin typeface="Arial"/>
                </a:rPr>
                <a:t>Phase 3 deliverable</a:t>
              </a:r>
            </a:p>
          </p:txBody>
        </p:sp>
      </p:grpSp>
      <p:grpSp>
        <p:nvGrpSpPr>
          <p:cNvPr id="6" name="Group 5">
            <a:extLst>
              <a:ext uri="{FF2B5EF4-FFF2-40B4-BE49-F238E27FC236}">
                <a16:creationId xmlns:a16="http://schemas.microsoft.com/office/drawing/2014/main" id="{33C67D9C-B9EC-6F5B-3966-D4729FE598E0}"/>
              </a:ext>
            </a:extLst>
          </p:cNvPr>
          <p:cNvGrpSpPr/>
          <p:nvPr/>
        </p:nvGrpSpPr>
        <p:grpSpPr>
          <a:xfrm>
            <a:off x="6523383" y="1250221"/>
            <a:ext cx="4334007" cy="2237511"/>
            <a:chOff x="6523383" y="1250221"/>
            <a:chExt cx="4334007" cy="2237511"/>
          </a:xfrm>
        </p:grpSpPr>
        <p:sp>
          <p:nvSpPr>
            <p:cNvPr id="36" name="Rectangle: Rounded Corners 35">
              <a:extLst>
                <a:ext uri="{FF2B5EF4-FFF2-40B4-BE49-F238E27FC236}">
                  <a16:creationId xmlns:a16="http://schemas.microsoft.com/office/drawing/2014/main" id="{3FF1FF63-6EA8-6459-9909-040CF4461545}"/>
                </a:ext>
              </a:extLst>
            </p:cNvPr>
            <p:cNvSpPr/>
            <p:nvPr/>
          </p:nvSpPr>
          <p:spPr>
            <a:xfrm>
              <a:off x="6523383" y="1250221"/>
              <a:ext cx="4334007" cy="2237511"/>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Rectangle 38">
              <a:extLst>
                <a:ext uri="{FF2B5EF4-FFF2-40B4-BE49-F238E27FC236}">
                  <a16:creationId xmlns:a16="http://schemas.microsoft.com/office/drawing/2014/main" id="{8DDF1E00-0CFA-F22D-3371-FEE087CBF55E}"/>
                </a:ext>
              </a:extLst>
            </p:cNvPr>
            <p:cNvSpPr/>
            <p:nvPr/>
          </p:nvSpPr>
          <p:spPr>
            <a:xfrm>
              <a:off x="7384836" y="1338309"/>
              <a:ext cx="2273323" cy="421805"/>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7030A0"/>
                  </a:solidFill>
                </a:rPr>
                <a:t>ORAN expert team</a:t>
              </a:r>
            </a:p>
          </p:txBody>
        </p:sp>
        <p:sp>
          <p:nvSpPr>
            <p:cNvPr id="53" name="TextBox 52">
              <a:extLst>
                <a:ext uri="{FF2B5EF4-FFF2-40B4-BE49-F238E27FC236}">
                  <a16:creationId xmlns:a16="http://schemas.microsoft.com/office/drawing/2014/main" id="{871AA970-8E23-86C9-3DAD-77918A6B2806}"/>
                </a:ext>
              </a:extLst>
            </p:cNvPr>
            <p:cNvSpPr txBox="1"/>
            <p:nvPr/>
          </p:nvSpPr>
          <p:spPr>
            <a:xfrm>
              <a:off x="7100257" y="1848202"/>
              <a:ext cx="3322127" cy="1345048"/>
            </a:xfrm>
            <a:prstGeom prst="rect">
              <a:avLst/>
            </a:prstGeom>
            <a:solidFill>
              <a:schemeClr val="accent6">
                <a:lumMod val="20000"/>
                <a:lumOff val="80000"/>
              </a:schemeClr>
            </a:solidFill>
          </p:spPr>
          <p:txBody>
            <a:bodyPr wrap="square" rtlCol="0">
              <a:spAutoFit/>
            </a:bodyPr>
            <a:lstStyle/>
            <a:p>
              <a:pPr marL="285750" indent="-285750">
                <a:lnSpc>
                  <a:spcPct val="150000"/>
                </a:lnSpc>
                <a:buFont typeface="Arial" panose="020B0604020202020204" pitchFamily="34" charset="0"/>
                <a:buChar char="•"/>
              </a:pPr>
              <a:r>
                <a:rPr lang="en-US" sz="1400" b="1" kern="0" dirty="0">
                  <a:solidFill>
                    <a:srgbClr val="000000"/>
                  </a:solidFill>
                  <a:cs typeface="Arial" charset="0"/>
                </a:rPr>
                <a:t>ORAN expert</a:t>
              </a:r>
            </a:p>
            <a:p>
              <a:pPr marL="285750" indent="-285750">
                <a:lnSpc>
                  <a:spcPct val="150000"/>
                </a:lnSpc>
                <a:buFont typeface="Arial" panose="020B0604020202020204" pitchFamily="34" charset="0"/>
                <a:buChar char="•"/>
              </a:pPr>
              <a:r>
                <a:rPr lang="en-US" sz="1400" b="1" kern="0" dirty="0">
                  <a:solidFill>
                    <a:srgbClr val="000000"/>
                  </a:solidFill>
                  <a:cs typeface="Arial" charset="0"/>
                </a:rPr>
                <a:t>Project manager</a:t>
              </a:r>
            </a:p>
            <a:p>
              <a:pPr marL="285750" indent="-285750">
                <a:lnSpc>
                  <a:spcPct val="150000"/>
                </a:lnSpc>
                <a:buFont typeface="Arial" panose="020B0604020202020204" pitchFamily="34" charset="0"/>
                <a:buChar char="•"/>
              </a:pPr>
              <a:r>
                <a:rPr lang="en-US" sz="1400" b="1" kern="0" dirty="0">
                  <a:solidFill>
                    <a:srgbClr val="000000"/>
                  </a:solidFill>
                  <a:cs typeface="Arial" charset="0"/>
                </a:rPr>
                <a:t>Radio access network engineer</a:t>
              </a:r>
            </a:p>
            <a:p>
              <a:pPr marL="285750" indent="-285750">
                <a:lnSpc>
                  <a:spcPct val="150000"/>
                </a:lnSpc>
                <a:buFont typeface="Arial" panose="020B0604020202020204" pitchFamily="34" charset="0"/>
                <a:buChar char="•"/>
              </a:pPr>
              <a:r>
                <a:rPr lang="en-US" sz="1400" b="1" kern="0" dirty="0">
                  <a:solidFill>
                    <a:srgbClr val="000000"/>
                  </a:solidFill>
                  <a:cs typeface="Arial" charset="0"/>
                </a:rPr>
                <a:t>Cost management expert</a:t>
              </a:r>
              <a:endParaRPr lang="en-US" sz="1400" dirty="0">
                <a:solidFill>
                  <a:srgbClr val="000000"/>
                </a:solidFill>
              </a:endParaRPr>
            </a:p>
          </p:txBody>
        </p:sp>
      </p:grpSp>
    </p:spTree>
    <p:extLst>
      <p:ext uri="{BB962C8B-B14F-4D97-AF65-F5344CB8AC3E}">
        <p14:creationId xmlns:p14="http://schemas.microsoft.com/office/powerpoint/2010/main" val="20461841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4" name="Object 2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 name="Title 27"/>
          <p:cNvSpPr>
            <a:spLocks noGrp="1"/>
          </p:cNvSpPr>
          <p:nvPr>
            <p:ph type="title"/>
          </p:nvPr>
        </p:nvSpPr>
        <p:spPr>
          <a:xfrm>
            <a:off x="304747" y="540582"/>
            <a:ext cx="11592000" cy="332399"/>
          </a:xfrm>
          <a:solidFill>
            <a:schemeClr val="bg1"/>
          </a:solidFill>
        </p:spPr>
        <p:txBody>
          <a:bodyPr/>
          <a:lstStyle/>
          <a:p>
            <a:r>
              <a:rPr lang="en-US" dirty="0"/>
              <a:t>Recommendation</a:t>
            </a:r>
          </a:p>
        </p:txBody>
      </p:sp>
      <p:sp>
        <p:nvSpPr>
          <p:cNvPr id="2" name="Text Placeholder 1">
            <a:extLst>
              <a:ext uri="{FF2B5EF4-FFF2-40B4-BE49-F238E27FC236}">
                <a16:creationId xmlns:a16="http://schemas.microsoft.com/office/drawing/2014/main" id="{489682A9-221B-45B5-BE76-D6B444A97A61}"/>
              </a:ext>
            </a:extLst>
          </p:cNvPr>
          <p:cNvSpPr>
            <a:spLocks noGrp="1"/>
          </p:cNvSpPr>
          <p:nvPr>
            <p:ph type="body" sz="quarter" idx="14"/>
          </p:nvPr>
        </p:nvSpPr>
        <p:spPr>
          <a:xfrm>
            <a:off x="304747" y="188095"/>
            <a:ext cx="11592000" cy="164212"/>
          </a:xfrm>
        </p:spPr>
        <p:txBody>
          <a:bodyPr/>
          <a:lstStyle/>
          <a:p>
            <a:r>
              <a:rPr kumimoji="0" lang="en-US" sz="1100" b="1" i="0" u="none" strike="noStrike" kern="1200" cap="none" spc="0" normalizeH="0" baseline="0" noProof="0" dirty="0">
                <a:ln>
                  <a:noFill/>
                </a:ln>
                <a:solidFill>
                  <a:srgbClr val="122769"/>
                </a:solidFill>
                <a:effectLst/>
                <a:uLnTx/>
                <a:uFillTx/>
                <a:latin typeface="Arial"/>
                <a:ea typeface="+mn-ea"/>
                <a:cs typeface="+mn-cs"/>
              </a:rPr>
              <a:t>Case Study</a:t>
            </a:r>
          </a:p>
        </p:txBody>
      </p:sp>
      <p:sp>
        <p:nvSpPr>
          <p:cNvPr id="3" name="Text Placeholder 2">
            <a:extLst>
              <a:ext uri="{FF2B5EF4-FFF2-40B4-BE49-F238E27FC236}">
                <a16:creationId xmlns:a16="http://schemas.microsoft.com/office/drawing/2014/main" id="{C9E6B1BB-CB5A-493F-94AF-214FD562B741}"/>
              </a:ext>
            </a:extLst>
          </p:cNvPr>
          <p:cNvSpPr>
            <a:spLocks noGrp="1"/>
          </p:cNvSpPr>
          <p:nvPr>
            <p:ph type="body" sz="quarter" idx="21"/>
          </p:nvPr>
        </p:nvSpPr>
        <p:spPr/>
        <p:txBody>
          <a:bodyPr/>
          <a:lstStyle/>
          <a:p>
            <a:endParaRPr lang="en-US"/>
          </a:p>
        </p:txBody>
      </p:sp>
      <p:sp>
        <p:nvSpPr>
          <p:cNvPr id="6" name="TextBox 5">
            <a:extLst>
              <a:ext uri="{FF2B5EF4-FFF2-40B4-BE49-F238E27FC236}">
                <a16:creationId xmlns:a16="http://schemas.microsoft.com/office/drawing/2014/main" id="{3BA6F1BE-A0DB-1CC5-D496-2D749615ACEB}"/>
              </a:ext>
            </a:extLst>
          </p:cNvPr>
          <p:cNvSpPr txBox="1"/>
          <p:nvPr/>
        </p:nvSpPr>
        <p:spPr>
          <a:xfrm>
            <a:off x="304747" y="1504795"/>
            <a:ext cx="8222744" cy="3816429"/>
          </a:xfrm>
          <a:prstGeom prst="rect">
            <a:avLst/>
          </a:prstGeom>
          <a:noFill/>
        </p:spPr>
        <p:txBody>
          <a:bodyPr wrap="square" rtlCol="0">
            <a:spAutoFit/>
          </a:bodyPr>
          <a:lstStyle/>
          <a:p>
            <a:pPr marL="285750" indent="-285750" algn="just">
              <a:lnSpc>
                <a:spcPct val="150000"/>
              </a:lnSpc>
              <a:buFont typeface="Arial" panose="020B0604020202020204" pitchFamily="34" charset="0"/>
              <a:buChar char="•"/>
            </a:pPr>
            <a:r>
              <a:rPr lang="en-US" sz="1400" dirty="0"/>
              <a:t>Use Ericsson infrastructure as the agreement is renewed recently.</a:t>
            </a:r>
          </a:p>
          <a:p>
            <a:pPr marL="285750" indent="-285750" algn="just">
              <a:lnSpc>
                <a:spcPct val="150000"/>
              </a:lnSpc>
              <a:buFont typeface="Arial" panose="020B0604020202020204" pitchFamily="34" charset="0"/>
              <a:buChar char="•"/>
            </a:pPr>
            <a:r>
              <a:rPr lang="en-US" sz="1400" dirty="0"/>
              <a:t>In addition to that, Ericsson also provides Intelligent Automation Platform, it allows to deploy Open RAN to reduce network complexity and operational costs.  </a:t>
            </a:r>
          </a:p>
          <a:p>
            <a:pPr marL="285750" indent="-285750" algn="just">
              <a:lnSpc>
                <a:spcPct val="150000"/>
              </a:lnSpc>
              <a:buFont typeface="Arial" panose="020B0604020202020204" pitchFamily="34" charset="0"/>
              <a:buChar char="•"/>
            </a:pPr>
            <a:r>
              <a:rPr lang="en-US" sz="1400" dirty="0"/>
              <a:t>It allows Third party RAN HW or developer to run on the platform and accesses data and controls radio access network elements.</a:t>
            </a:r>
          </a:p>
          <a:p>
            <a:pPr marL="285750" indent="-285750" algn="just">
              <a:lnSpc>
                <a:spcPct val="150000"/>
              </a:lnSpc>
              <a:buFont typeface="Arial" panose="020B0604020202020204" pitchFamily="34" charset="0"/>
              <a:buChar char="•"/>
            </a:pPr>
            <a:r>
              <a:rPr lang="en-US" sz="1400" dirty="0"/>
              <a:t>By using existing infrastructure </a:t>
            </a:r>
            <a:r>
              <a:rPr lang="en-US" sz="1400" dirty="0" err="1"/>
              <a:t>Omantel</a:t>
            </a:r>
            <a:r>
              <a:rPr lang="en-US" sz="1400" dirty="0"/>
              <a:t> will have faster deployment of ORAN.</a:t>
            </a:r>
          </a:p>
          <a:p>
            <a:pPr marL="285750" indent="-285750" algn="just">
              <a:lnSpc>
                <a:spcPct val="150000"/>
              </a:lnSpc>
              <a:buFont typeface="Arial" panose="020B0604020202020204" pitchFamily="34" charset="0"/>
              <a:buChar char="•"/>
            </a:pPr>
            <a:r>
              <a:rPr lang="en-US" sz="1400" dirty="0"/>
              <a:t>Contractual flexibility of using new vendor as a result cost can be minimized . </a:t>
            </a:r>
          </a:p>
          <a:p>
            <a:pPr marL="285750" indent="-285750" algn="just">
              <a:lnSpc>
                <a:spcPct val="150000"/>
              </a:lnSpc>
              <a:buFont typeface="Arial" panose="020B0604020202020204" pitchFamily="34" charset="0"/>
              <a:buChar char="•"/>
            </a:pPr>
            <a:r>
              <a:rPr lang="en-US" sz="1400" dirty="0"/>
              <a:t>Every vendor offering interoperate with other products and enable service providers to benefit from cloud scale economic and service agility. </a:t>
            </a:r>
          </a:p>
          <a:p>
            <a:pPr marL="285750" indent="-285750" algn="just">
              <a:lnSpc>
                <a:spcPct val="150000"/>
              </a:lnSpc>
              <a:buFont typeface="Arial" panose="020B0604020202020204" pitchFamily="34" charset="0"/>
              <a:buChar char="•"/>
            </a:pPr>
            <a:r>
              <a:rPr lang="en-US" sz="1400" dirty="0"/>
              <a:t>Consulting Fee: 70,000 Euro</a:t>
            </a:r>
          </a:p>
          <a:p>
            <a:pPr marL="285750" indent="-285750">
              <a:buFont typeface="Arial" panose="020B0604020202020204" pitchFamily="34" charset="0"/>
              <a:buChar char="•"/>
            </a:pPr>
            <a:endParaRPr lang="en-US" sz="1400" dirty="0"/>
          </a:p>
          <a:p>
            <a:r>
              <a:rPr lang="en-US" dirty="0"/>
              <a:t> </a:t>
            </a:r>
          </a:p>
        </p:txBody>
      </p:sp>
      <p:pic>
        <p:nvPicPr>
          <p:cNvPr id="3076" name="Picture 4" descr="Graphic element showing the the different topic for the tech guide series about RAN automation">
            <a:extLst>
              <a:ext uri="{FF2B5EF4-FFF2-40B4-BE49-F238E27FC236}">
                <a16:creationId xmlns:a16="http://schemas.microsoft.com/office/drawing/2014/main" id="{DDBC1058-D34F-F700-2EBD-B6BFE6B15B57}"/>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2074" t="9584" r="33164" b="7015"/>
          <a:stretch/>
        </p:blipFill>
        <p:spPr bwMode="auto">
          <a:xfrm>
            <a:off x="8709434" y="1216387"/>
            <a:ext cx="3313569" cy="44730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75295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7D422AAA-785F-4E31-9113-C6EEF97BBF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3" name="Object 12" hidden="1">
                        <a:extLst>
                          <a:ext uri="{FF2B5EF4-FFF2-40B4-BE49-F238E27FC236}">
                            <a16:creationId xmlns:a16="http://schemas.microsoft.com/office/drawing/2014/main" id="{7D422AAA-785F-4E31-9113-C6EEF97BBF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2" descr="A picture containing outdoor&#10;&#10;Description automatically generated">
            <a:extLst>
              <a:ext uri="{FF2B5EF4-FFF2-40B4-BE49-F238E27FC236}">
                <a16:creationId xmlns:a16="http://schemas.microsoft.com/office/drawing/2014/main" id="{DCD2AC58-F4E7-403C-BB40-2B41A6724387}"/>
              </a:ext>
            </a:extLst>
          </p:cNvPr>
          <p:cNvPicPr>
            <a:picLocks noChangeAspect="1"/>
          </p:cNvPicPr>
          <p:nvPr/>
        </p:nvPicPr>
        <p:blipFill>
          <a:blip r:embed="rId5"/>
          <a:stretch>
            <a:fillRect/>
          </a:stretch>
        </p:blipFill>
        <p:spPr>
          <a:xfrm>
            <a:off x="0" y="0"/>
            <a:ext cx="12192000" cy="6858000"/>
          </a:xfrm>
          <a:prstGeom prst="rect">
            <a:avLst/>
          </a:prstGeom>
        </p:spPr>
      </p:pic>
      <p:sp>
        <p:nvSpPr>
          <p:cNvPr id="18" name="TextBox 17">
            <a:extLst>
              <a:ext uri="{FF2B5EF4-FFF2-40B4-BE49-F238E27FC236}">
                <a16:creationId xmlns:a16="http://schemas.microsoft.com/office/drawing/2014/main" id="{8D64DBDA-4FCC-42D8-BB82-50D3CD0DDACD}"/>
              </a:ext>
            </a:extLst>
          </p:cNvPr>
          <p:cNvSpPr txBox="1"/>
          <p:nvPr/>
        </p:nvSpPr>
        <p:spPr>
          <a:xfrm>
            <a:off x="10848975" y="6685547"/>
            <a:ext cx="1701799" cy="338554"/>
          </a:xfrm>
          <a:prstGeom prst="rect">
            <a:avLst/>
          </a:prstGeom>
          <a:noFill/>
        </p:spPr>
        <p:txBody>
          <a:bodyPr wrap="square" lIns="0" tIns="0" rIns="0" bIns="0" rtlCol="0">
            <a:spAutoFit/>
          </a:bodyPr>
          <a:lstStyle/>
          <a:p>
            <a:pPr>
              <a:buClr>
                <a:schemeClr val="tx1"/>
              </a:buClr>
              <a:buSzPct val="80000"/>
            </a:pPr>
            <a:r>
              <a:rPr lang="en-US" sz="800" dirty="0"/>
              <a:t>Figure: visualcomponent.com</a:t>
            </a:r>
          </a:p>
          <a:p>
            <a:pPr marL="180975" indent="-180975">
              <a:buClr>
                <a:schemeClr val="tx1"/>
              </a:buClr>
              <a:buSzPct val="80000"/>
              <a:buFont typeface="Wingdings 2" panose="05020102010507070707" pitchFamily="18" charset="2"/>
              <a:buChar char="¡"/>
            </a:pPr>
            <a:endParaRPr lang="en-US" sz="1400" dirty="0"/>
          </a:p>
        </p:txBody>
      </p:sp>
      <p:sp>
        <p:nvSpPr>
          <p:cNvPr id="28" name="Oval 27">
            <a:extLst>
              <a:ext uri="{FF2B5EF4-FFF2-40B4-BE49-F238E27FC236}">
                <a16:creationId xmlns:a16="http://schemas.microsoft.com/office/drawing/2014/main" id="{3A92C21B-D5E1-4AE8-9237-79C163F41B2C}"/>
              </a:ext>
            </a:extLst>
          </p:cNvPr>
          <p:cNvSpPr/>
          <p:nvPr/>
        </p:nvSpPr>
        <p:spPr>
          <a:xfrm>
            <a:off x="403981" y="2150801"/>
            <a:ext cx="3739610" cy="3740183"/>
          </a:xfrm>
          <a:prstGeom prst="ellipse">
            <a:avLst/>
          </a:prstGeom>
          <a:solidFill>
            <a:srgbClr val="FFFFFF"/>
          </a:solidFill>
          <a:ln w="9525" cap="flat" cmpd="sng" algn="ctr">
            <a:noFill/>
            <a:prstDash val="solid"/>
          </a:ln>
          <a:effectLst/>
        </p:spPr>
        <p:txBody>
          <a:bodyPr lIns="68580" tIns="34289" rIns="68580" bIns="34289" rtlCol="0" anchor="ctr"/>
          <a:lstStyle/>
          <a:p>
            <a:pPr marL="0" marR="0" lvl="0" indent="0" algn="ctr" defTabSz="342889" rtl="0" eaLnBrk="1" fontAlgn="auto" latinLnBrk="0" hangingPunct="1">
              <a:lnSpc>
                <a:spcPct val="90000"/>
              </a:lnSpc>
              <a:spcBef>
                <a:spcPct val="50000"/>
              </a:spcBef>
              <a:spcAft>
                <a:spcPts val="0"/>
              </a:spcAft>
              <a:buClr>
                <a:srgbClr val="E20074"/>
              </a:buClr>
              <a:buSzPct val="75000"/>
              <a:buFontTx/>
              <a:buNone/>
              <a:tabLst/>
              <a:defRPr/>
            </a:pPr>
            <a:endParaRPr kumimoji="0" lang="en-US" sz="8599" b="0" i="0" u="none" strike="noStrike" kern="0" cap="none" spc="0" normalizeH="0" baseline="0" noProof="0">
              <a:ln>
                <a:noFill/>
              </a:ln>
              <a:solidFill>
                <a:srgbClr val="E20074"/>
              </a:solidFill>
              <a:effectLst/>
              <a:uLnTx/>
              <a:uFillTx/>
              <a:latin typeface="TeleGrotesk Headline Ultra" pitchFamily="2" charset="0"/>
              <a:ea typeface="+mn-ea"/>
              <a:cs typeface="+mn-cs"/>
            </a:endParaRPr>
          </a:p>
        </p:txBody>
      </p:sp>
      <p:sp>
        <p:nvSpPr>
          <p:cNvPr id="29" name="Rectangle 28">
            <a:extLst>
              <a:ext uri="{FF2B5EF4-FFF2-40B4-BE49-F238E27FC236}">
                <a16:creationId xmlns:a16="http://schemas.microsoft.com/office/drawing/2014/main" id="{B52EBCF4-550E-47BD-916C-5EED42E67D5F}"/>
              </a:ext>
            </a:extLst>
          </p:cNvPr>
          <p:cNvSpPr/>
          <p:nvPr/>
        </p:nvSpPr>
        <p:spPr>
          <a:xfrm>
            <a:off x="623056" y="3445732"/>
            <a:ext cx="1421606" cy="1150320"/>
          </a:xfrm>
          <a:prstGeom prst="rect">
            <a:avLst/>
          </a:prstGeom>
          <a:noFill/>
          <a:ln w="9525" cap="flat" cmpd="sng" algn="ctr">
            <a:noFill/>
            <a:prstDash val="solid"/>
          </a:ln>
          <a:effectLst/>
        </p:spPr>
        <p:txBody>
          <a:bodyPr lIns="68580" tIns="34289" rIns="68580" bIns="34289" rtlCol="0" anchor="ctr"/>
          <a:lstStyle/>
          <a:p>
            <a:pPr marL="0" marR="0" lvl="0" indent="0" algn="ctr" defTabSz="342889" rtl="0" eaLnBrk="1" fontAlgn="auto" latinLnBrk="0" hangingPunct="1">
              <a:lnSpc>
                <a:spcPct val="90000"/>
              </a:lnSpc>
              <a:spcBef>
                <a:spcPct val="50000"/>
              </a:spcBef>
              <a:spcAft>
                <a:spcPts val="0"/>
              </a:spcAft>
              <a:buClr>
                <a:srgbClr val="E20074"/>
              </a:buClr>
              <a:buSzPct val="75000"/>
              <a:buFontTx/>
              <a:buNone/>
              <a:tabLst/>
              <a:defRPr/>
            </a:pPr>
            <a:r>
              <a:rPr kumimoji="0" lang="en-US" sz="8599" b="0" i="0" u="none" strike="noStrike" kern="0" cap="none" spc="0" normalizeH="0" baseline="0" noProof="0" dirty="0">
                <a:ln>
                  <a:noFill/>
                </a:ln>
                <a:solidFill>
                  <a:schemeClr val="accent3"/>
                </a:solidFill>
                <a:effectLst/>
                <a:uLnTx/>
                <a:uFillTx/>
                <a:latin typeface="TeleGrotesk Headline Ultra" pitchFamily="2" charset="0"/>
                <a:ea typeface="+mn-ea"/>
                <a:cs typeface="+mn-cs"/>
              </a:rPr>
              <a:t>02</a:t>
            </a:r>
          </a:p>
        </p:txBody>
      </p:sp>
      <p:cxnSp>
        <p:nvCxnSpPr>
          <p:cNvPr id="30" name="Straight Connector 29">
            <a:extLst>
              <a:ext uri="{FF2B5EF4-FFF2-40B4-BE49-F238E27FC236}">
                <a16:creationId xmlns:a16="http://schemas.microsoft.com/office/drawing/2014/main" id="{65D285C0-AE3E-49CD-AE30-D35E70A95F0C}"/>
              </a:ext>
            </a:extLst>
          </p:cNvPr>
          <p:cNvCxnSpPr/>
          <p:nvPr/>
        </p:nvCxnSpPr>
        <p:spPr>
          <a:xfrm>
            <a:off x="2044662" y="3217522"/>
            <a:ext cx="0" cy="1606740"/>
          </a:xfrm>
          <a:prstGeom prst="line">
            <a:avLst/>
          </a:prstGeom>
          <a:ln>
            <a:headEnd type="none" w="med" len="med"/>
            <a:tailEnd type="none" w="med" len="med"/>
          </a:ln>
        </p:spPr>
        <p:style>
          <a:lnRef idx="3">
            <a:schemeClr val="accent3"/>
          </a:lnRef>
          <a:fillRef idx="0">
            <a:schemeClr val="accent3"/>
          </a:fillRef>
          <a:effectRef idx="2">
            <a:schemeClr val="accent3"/>
          </a:effectRef>
          <a:fontRef idx="minor">
            <a:schemeClr val="tx1"/>
          </a:fontRef>
        </p:style>
      </p:cxnSp>
      <p:sp>
        <p:nvSpPr>
          <p:cNvPr id="31" name="Rectangle 30">
            <a:extLst>
              <a:ext uri="{FF2B5EF4-FFF2-40B4-BE49-F238E27FC236}">
                <a16:creationId xmlns:a16="http://schemas.microsoft.com/office/drawing/2014/main" id="{AE047C02-4416-4633-A615-EDBBA960562F}"/>
              </a:ext>
            </a:extLst>
          </p:cNvPr>
          <p:cNvSpPr/>
          <p:nvPr/>
        </p:nvSpPr>
        <p:spPr>
          <a:xfrm>
            <a:off x="2044662" y="3780428"/>
            <a:ext cx="2519375" cy="457046"/>
          </a:xfrm>
          <a:prstGeom prst="rect">
            <a:avLst/>
          </a:prstGeom>
        </p:spPr>
        <p:txBody>
          <a:bodyPr wrap="square" lIns="68580" tIns="34289" rIns="68580" bIns="34289" anchor="ctr">
            <a:spAutoFit/>
          </a:bodyPr>
          <a:lstStyle/>
          <a:p>
            <a:pPr marL="0" marR="0" lvl="0" indent="0" algn="l" defTabSz="342889" rtl="0" eaLnBrk="1" fontAlgn="base" latinLnBrk="0" hangingPunct="1">
              <a:lnSpc>
                <a:spcPct val="90000"/>
              </a:lnSpc>
              <a:spcBef>
                <a:spcPct val="50000"/>
              </a:spcBef>
              <a:spcAft>
                <a:spcPct val="0"/>
              </a:spcAft>
              <a:buClr>
                <a:srgbClr val="E20074"/>
              </a:buClr>
              <a:buSzPct val="75000"/>
              <a:buFontTx/>
              <a:buNone/>
              <a:tabLst/>
              <a:defRPr/>
            </a:pPr>
            <a:r>
              <a:rPr kumimoji="0" lang="en-US" sz="2800" b="0" i="0" u="none" strike="noStrike" kern="1200" cap="none" spc="0" normalizeH="0" baseline="0" noProof="0" dirty="0">
                <a:ln>
                  <a:noFill/>
                </a:ln>
                <a:solidFill>
                  <a:schemeClr val="accent3"/>
                </a:solidFill>
                <a:effectLst/>
                <a:uLnTx/>
                <a:uFillTx/>
                <a:latin typeface="Arial"/>
                <a:ea typeface="Tele-GroteskFet" panose="00000500000000000000" pitchFamily="2" charset="0"/>
                <a:cs typeface="Tele-GroteskFet" panose="00000500000000000000" pitchFamily="2" charset="0"/>
              </a:rPr>
              <a:t>Backup slide</a:t>
            </a:r>
          </a:p>
        </p:txBody>
      </p:sp>
    </p:spTree>
    <p:extLst>
      <p:ext uri="{BB962C8B-B14F-4D97-AF65-F5344CB8AC3E}">
        <p14:creationId xmlns:p14="http://schemas.microsoft.com/office/powerpoint/2010/main" val="16844716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5EC33CA-33B1-7372-CB8F-237BD6C7D4D7}"/>
              </a:ext>
            </a:extLst>
          </p:cNvPr>
          <p:cNvSpPr>
            <a:spLocks noGrp="1"/>
          </p:cNvSpPr>
          <p:nvPr>
            <p:ph type="body" sz="quarter" idx="10"/>
          </p:nvPr>
        </p:nvSpPr>
        <p:spPr/>
        <p:txBody>
          <a:bodyPr/>
          <a:lstStyle/>
          <a:p>
            <a:r>
              <a:rPr lang="en-US" dirty="0">
                <a:solidFill>
                  <a:srgbClr val="C00000"/>
                </a:solidFill>
              </a:rPr>
              <a:t>Evolution to 5G </a:t>
            </a:r>
            <a:r>
              <a:rPr lang="en-US" dirty="0" err="1">
                <a:solidFill>
                  <a:srgbClr val="C00000"/>
                </a:solidFill>
              </a:rPr>
              <a:t>OpenRAN</a:t>
            </a:r>
            <a:endParaRPr lang="en-US" dirty="0">
              <a:solidFill>
                <a:srgbClr val="C00000"/>
              </a:solidFill>
            </a:endParaRPr>
          </a:p>
        </p:txBody>
      </p:sp>
      <p:sp>
        <p:nvSpPr>
          <p:cNvPr id="4" name="Footer Placeholder 3">
            <a:extLst>
              <a:ext uri="{FF2B5EF4-FFF2-40B4-BE49-F238E27FC236}">
                <a16:creationId xmlns:a16="http://schemas.microsoft.com/office/drawing/2014/main" id="{9284A9FF-F516-DF1A-D47E-ECE0A929AD7B}"/>
              </a:ext>
            </a:extLst>
          </p:cNvPr>
          <p:cNvSpPr>
            <a:spLocks noGrp="1"/>
          </p:cNvSpPr>
          <p:nvPr>
            <p:ph type="ftr" sz="quarter" idx="3"/>
          </p:nvPr>
        </p:nvSpPr>
        <p:spPr/>
        <p:txBody>
          <a:bodyPr/>
          <a:lstStyle/>
          <a:p>
            <a:r>
              <a:rPr lang="en-US" dirty="0"/>
              <a:t>Case Study</a:t>
            </a:r>
          </a:p>
        </p:txBody>
      </p:sp>
      <p:grpSp>
        <p:nvGrpSpPr>
          <p:cNvPr id="112" name="Group 111">
            <a:extLst>
              <a:ext uri="{FF2B5EF4-FFF2-40B4-BE49-F238E27FC236}">
                <a16:creationId xmlns:a16="http://schemas.microsoft.com/office/drawing/2014/main" id="{B93BEEBC-10DF-3303-F34B-7964316FAC75}"/>
              </a:ext>
            </a:extLst>
          </p:cNvPr>
          <p:cNvGrpSpPr/>
          <p:nvPr/>
        </p:nvGrpSpPr>
        <p:grpSpPr>
          <a:xfrm>
            <a:off x="633858" y="1669657"/>
            <a:ext cx="2467989" cy="3797282"/>
            <a:chOff x="1140783" y="1367507"/>
            <a:chExt cx="2467989" cy="3797282"/>
          </a:xfrm>
        </p:grpSpPr>
        <p:sp>
          <p:nvSpPr>
            <p:cNvPr id="104" name="Rectangle: Rounded Corners 103">
              <a:extLst>
                <a:ext uri="{FF2B5EF4-FFF2-40B4-BE49-F238E27FC236}">
                  <a16:creationId xmlns:a16="http://schemas.microsoft.com/office/drawing/2014/main" id="{A89C8021-A18B-71C4-3B89-28C7BEF84F58}"/>
                </a:ext>
              </a:extLst>
            </p:cNvPr>
            <p:cNvSpPr/>
            <p:nvPr/>
          </p:nvSpPr>
          <p:spPr>
            <a:xfrm>
              <a:off x="1140783" y="2612547"/>
              <a:ext cx="2467989" cy="587234"/>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 name="Rectangle: Rounded Corners 97">
              <a:extLst>
                <a:ext uri="{FF2B5EF4-FFF2-40B4-BE49-F238E27FC236}">
                  <a16:creationId xmlns:a16="http://schemas.microsoft.com/office/drawing/2014/main" id="{50DBD645-604B-CDDC-68A4-52A6F55463D9}"/>
                </a:ext>
              </a:extLst>
            </p:cNvPr>
            <p:cNvSpPr/>
            <p:nvPr/>
          </p:nvSpPr>
          <p:spPr>
            <a:xfrm>
              <a:off x="2140179" y="3733389"/>
              <a:ext cx="1468593" cy="222206"/>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Rectangle: Rounded Corners 87">
              <a:extLst>
                <a:ext uri="{FF2B5EF4-FFF2-40B4-BE49-F238E27FC236}">
                  <a16:creationId xmlns:a16="http://schemas.microsoft.com/office/drawing/2014/main" id="{5E77E21E-9C55-448E-884F-DF1CE458C168}"/>
                </a:ext>
              </a:extLst>
            </p:cNvPr>
            <p:cNvSpPr/>
            <p:nvPr/>
          </p:nvSpPr>
          <p:spPr>
            <a:xfrm>
              <a:off x="1140783" y="4471971"/>
              <a:ext cx="2445795" cy="273562"/>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Cloud 38">
              <a:extLst>
                <a:ext uri="{FF2B5EF4-FFF2-40B4-BE49-F238E27FC236}">
                  <a16:creationId xmlns:a16="http://schemas.microsoft.com/office/drawing/2014/main" id="{2A4BB1E9-44F6-D61B-1C72-78ECAF3BABF6}"/>
                </a:ext>
              </a:extLst>
            </p:cNvPr>
            <p:cNvSpPr/>
            <p:nvPr/>
          </p:nvSpPr>
          <p:spPr>
            <a:xfrm>
              <a:off x="1402673" y="1367507"/>
              <a:ext cx="1757779" cy="934889"/>
            </a:xfrm>
            <a:prstGeom prst="cloud">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4G/5G Core Network</a:t>
              </a:r>
            </a:p>
          </p:txBody>
        </p:sp>
        <p:sp>
          <p:nvSpPr>
            <p:cNvPr id="42" name="Rectangle 41">
              <a:extLst>
                <a:ext uri="{FF2B5EF4-FFF2-40B4-BE49-F238E27FC236}">
                  <a16:creationId xmlns:a16="http://schemas.microsoft.com/office/drawing/2014/main" id="{1E022152-1AA7-FCBF-2D29-59BC12B5D51F}"/>
                </a:ext>
              </a:extLst>
            </p:cNvPr>
            <p:cNvSpPr/>
            <p:nvPr/>
          </p:nvSpPr>
          <p:spPr>
            <a:xfrm>
              <a:off x="1149836" y="3311215"/>
              <a:ext cx="852256" cy="355107"/>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n w="0"/>
                  <a:solidFill>
                    <a:schemeClr val="tx1"/>
                  </a:solidFill>
                  <a:effectLst>
                    <a:outerShdw blurRad="38100" dist="19050" dir="2700000" algn="tl" rotWithShape="0">
                      <a:schemeClr val="dk1">
                        <a:alpha val="40000"/>
                      </a:schemeClr>
                    </a:outerShdw>
                  </a:effectLst>
                </a:rPr>
                <a:t>BBU</a:t>
              </a:r>
              <a:endParaRPr lang="en-US" dirty="0">
                <a:ln w="0"/>
                <a:solidFill>
                  <a:schemeClr val="tx1"/>
                </a:solidFill>
                <a:effectLst>
                  <a:outerShdw blurRad="38100" dist="19050" dir="2700000" algn="tl" rotWithShape="0">
                    <a:schemeClr val="dk1">
                      <a:alpha val="40000"/>
                    </a:schemeClr>
                  </a:outerShdw>
                </a:effectLst>
              </a:endParaRPr>
            </a:p>
          </p:txBody>
        </p:sp>
        <p:sp>
          <p:nvSpPr>
            <p:cNvPr id="44" name="Rectangle 43">
              <a:extLst>
                <a:ext uri="{FF2B5EF4-FFF2-40B4-BE49-F238E27FC236}">
                  <a16:creationId xmlns:a16="http://schemas.microsoft.com/office/drawing/2014/main" id="{E0889686-C3AF-8384-6F78-44387069E819}"/>
                </a:ext>
              </a:extLst>
            </p:cNvPr>
            <p:cNvSpPr/>
            <p:nvPr/>
          </p:nvSpPr>
          <p:spPr>
            <a:xfrm>
              <a:off x="1140783" y="4809682"/>
              <a:ext cx="852256" cy="355107"/>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n w="0"/>
                  <a:solidFill>
                    <a:schemeClr val="tx1"/>
                  </a:solidFill>
                  <a:effectLst>
                    <a:outerShdw blurRad="38100" dist="19050" dir="2700000" algn="tl" rotWithShape="0">
                      <a:schemeClr val="dk1">
                        <a:alpha val="40000"/>
                      </a:schemeClr>
                    </a:outerShdw>
                  </a:effectLst>
                </a:rPr>
                <a:t>RRU</a:t>
              </a:r>
              <a:endParaRPr lang="en-US" dirty="0">
                <a:ln w="0"/>
                <a:solidFill>
                  <a:schemeClr val="tx1"/>
                </a:solidFill>
                <a:effectLst>
                  <a:outerShdw blurRad="38100" dist="19050" dir="2700000" algn="tl" rotWithShape="0">
                    <a:schemeClr val="dk1">
                      <a:alpha val="40000"/>
                    </a:schemeClr>
                  </a:outerShdw>
                </a:effectLst>
              </a:endParaRPr>
            </a:p>
          </p:txBody>
        </p:sp>
        <p:cxnSp>
          <p:nvCxnSpPr>
            <p:cNvPr id="46" name="Straight Arrow Connector 45">
              <a:extLst>
                <a:ext uri="{FF2B5EF4-FFF2-40B4-BE49-F238E27FC236}">
                  <a16:creationId xmlns:a16="http://schemas.microsoft.com/office/drawing/2014/main" id="{BFD2BA82-34E8-1F7F-4012-B4F06E25CE38}"/>
                </a:ext>
              </a:extLst>
            </p:cNvPr>
            <p:cNvCxnSpPr>
              <a:cxnSpLocks/>
              <a:stCxn id="42" idx="2"/>
              <a:endCxn id="44" idx="0"/>
            </p:cNvCxnSpPr>
            <p:nvPr/>
          </p:nvCxnSpPr>
          <p:spPr>
            <a:xfrm flipH="1">
              <a:off x="1566911" y="3666322"/>
              <a:ext cx="9053" cy="1143360"/>
            </a:xfrm>
            <a:prstGeom prst="straightConnector1">
              <a:avLst/>
            </a:prstGeom>
            <a:ln>
              <a:headEnd type="arrow" w="med" len="med"/>
              <a:tailEnd type="arrow" w="med" len="med"/>
            </a:ln>
          </p:spPr>
          <p:style>
            <a:lnRef idx="2">
              <a:schemeClr val="accent6"/>
            </a:lnRef>
            <a:fillRef idx="0">
              <a:schemeClr val="accent6"/>
            </a:fillRef>
            <a:effectRef idx="1">
              <a:schemeClr val="accent6"/>
            </a:effectRef>
            <a:fontRef idx="minor">
              <a:schemeClr val="tx1"/>
            </a:fontRef>
          </p:style>
        </p:cxnSp>
        <p:cxnSp>
          <p:nvCxnSpPr>
            <p:cNvPr id="47" name="Straight Arrow Connector 46">
              <a:extLst>
                <a:ext uri="{FF2B5EF4-FFF2-40B4-BE49-F238E27FC236}">
                  <a16:creationId xmlns:a16="http://schemas.microsoft.com/office/drawing/2014/main" id="{E24481FA-BCA2-FACB-9A39-BAE2BD9E8826}"/>
                </a:ext>
              </a:extLst>
            </p:cNvPr>
            <p:cNvCxnSpPr>
              <a:cxnSpLocks/>
              <a:stCxn id="39" idx="1"/>
              <a:endCxn id="42" idx="0"/>
            </p:cNvCxnSpPr>
            <p:nvPr/>
          </p:nvCxnSpPr>
          <p:spPr>
            <a:xfrm flipH="1">
              <a:off x="1575964" y="2301401"/>
              <a:ext cx="705599" cy="1009814"/>
            </a:xfrm>
            <a:prstGeom prst="straightConnector1">
              <a:avLst/>
            </a:prstGeom>
            <a:ln>
              <a:headEnd type="arrow" w="med" len="med"/>
              <a:tailEnd type="arrow" w="med" len="med"/>
            </a:ln>
          </p:spPr>
          <p:style>
            <a:lnRef idx="2">
              <a:schemeClr val="accent6"/>
            </a:lnRef>
            <a:fillRef idx="0">
              <a:schemeClr val="accent6"/>
            </a:fillRef>
            <a:effectRef idx="1">
              <a:schemeClr val="accent6"/>
            </a:effectRef>
            <a:fontRef idx="minor">
              <a:schemeClr val="tx1"/>
            </a:fontRef>
          </p:style>
        </p:cxnSp>
        <p:sp>
          <p:nvSpPr>
            <p:cNvPr id="51" name="TextBox 50">
              <a:extLst>
                <a:ext uri="{FF2B5EF4-FFF2-40B4-BE49-F238E27FC236}">
                  <a16:creationId xmlns:a16="http://schemas.microsoft.com/office/drawing/2014/main" id="{19C245A8-7A88-E74F-9FC2-38BC6CFD5BE6}"/>
                </a:ext>
              </a:extLst>
            </p:cNvPr>
            <p:cNvSpPr txBox="1"/>
            <p:nvPr/>
          </p:nvSpPr>
          <p:spPr>
            <a:xfrm>
              <a:off x="2002092" y="2799726"/>
              <a:ext cx="814647" cy="276999"/>
            </a:xfrm>
            <a:prstGeom prst="rect">
              <a:avLst/>
            </a:prstGeom>
            <a:noFill/>
          </p:spPr>
          <p:txBody>
            <a:bodyPr wrap="none" rtlCol="0">
              <a:spAutoFit/>
            </a:bodyPr>
            <a:lstStyle/>
            <a:p>
              <a:r>
                <a:rPr lang="en-US" sz="1200" dirty="0"/>
                <a:t>Backhaul</a:t>
              </a:r>
            </a:p>
          </p:txBody>
        </p:sp>
        <p:sp>
          <p:nvSpPr>
            <p:cNvPr id="67" name="Rectangle 66">
              <a:extLst>
                <a:ext uri="{FF2B5EF4-FFF2-40B4-BE49-F238E27FC236}">
                  <a16:creationId xmlns:a16="http://schemas.microsoft.com/office/drawing/2014/main" id="{4DDC1906-CA70-3C8F-EB71-F072A8F30D35}"/>
                </a:ext>
              </a:extLst>
            </p:cNvPr>
            <p:cNvSpPr/>
            <p:nvPr/>
          </p:nvSpPr>
          <p:spPr>
            <a:xfrm>
              <a:off x="2734324" y="4809681"/>
              <a:ext cx="852256" cy="355107"/>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n w="0"/>
                  <a:solidFill>
                    <a:schemeClr val="tx1"/>
                  </a:solidFill>
                  <a:effectLst>
                    <a:outerShdw blurRad="38100" dist="19050" dir="2700000" algn="tl" rotWithShape="0">
                      <a:schemeClr val="dk1">
                        <a:alpha val="40000"/>
                      </a:schemeClr>
                    </a:outerShdw>
                  </a:effectLst>
                </a:rPr>
                <a:t>RU</a:t>
              </a:r>
              <a:endParaRPr lang="en-US" dirty="0">
                <a:ln w="0"/>
                <a:solidFill>
                  <a:schemeClr val="tx1"/>
                </a:solidFill>
                <a:effectLst>
                  <a:outerShdw blurRad="38100" dist="19050" dir="2700000" algn="tl" rotWithShape="0">
                    <a:schemeClr val="dk1">
                      <a:alpha val="40000"/>
                    </a:schemeClr>
                  </a:outerShdw>
                </a:effectLst>
              </a:endParaRPr>
            </a:p>
          </p:txBody>
        </p:sp>
        <p:sp>
          <p:nvSpPr>
            <p:cNvPr id="69" name="Rectangle 68">
              <a:extLst>
                <a:ext uri="{FF2B5EF4-FFF2-40B4-BE49-F238E27FC236}">
                  <a16:creationId xmlns:a16="http://schemas.microsoft.com/office/drawing/2014/main" id="{85044F87-5D88-76BD-89AF-D9E423C9C169}"/>
                </a:ext>
              </a:extLst>
            </p:cNvPr>
            <p:cNvSpPr/>
            <p:nvPr/>
          </p:nvSpPr>
          <p:spPr>
            <a:xfrm>
              <a:off x="2756516" y="4027217"/>
              <a:ext cx="852256" cy="355107"/>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n w="0"/>
                  <a:solidFill>
                    <a:schemeClr val="tx1"/>
                  </a:solidFill>
                  <a:effectLst>
                    <a:outerShdw blurRad="38100" dist="19050" dir="2700000" algn="tl" rotWithShape="0">
                      <a:schemeClr val="dk1">
                        <a:alpha val="40000"/>
                      </a:schemeClr>
                    </a:outerShdw>
                  </a:effectLst>
                </a:rPr>
                <a:t>DU</a:t>
              </a:r>
              <a:endParaRPr lang="en-US" dirty="0">
                <a:ln w="0"/>
                <a:solidFill>
                  <a:schemeClr val="tx1"/>
                </a:solidFill>
                <a:effectLst>
                  <a:outerShdw blurRad="38100" dist="19050" dir="2700000" algn="tl" rotWithShape="0">
                    <a:schemeClr val="dk1">
                      <a:alpha val="40000"/>
                    </a:schemeClr>
                  </a:outerShdw>
                </a:effectLst>
              </a:endParaRPr>
            </a:p>
          </p:txBody>
        </p:sp>
        <p:sp>
          <p:nvSpPr>
            <p:cNvPr id="71" name="Rectangle 70">
              <a:extLst>
                <a:ext uri="{FF2B5EF4-FFF2-40B4-BE49-F238E27FC236}">
                  <a16:creationId xmlns:a16="http://schemas.microsoft.com/office/drawing/2014/main" id="{AC47FD09-404F-2F43-FD69-351387D21395}"/>
                </a:ext>
              </a:extLst>
            </p:cNvPr>
            <p:cNvSpPr/>
            <p:nvPr/>
          </p:nvSpPr>
          <p:spPr>
            <a:xfrm>
              <a:off x="2752955" y="3298052"/>
              <a:ext cx="852256" cy="355107"/>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n w="0"/>
                  <a:solidFill>
                    <a:schemeClr val="tx1"/>
                  </a:solidFill>
                  <a:effectLst>
                    <a:outerShdw blurRad="38100" dist="19050" dir="2700000" algn="tl" rotWithShape="0">
                      <a:schemeClr val="dk1">
                        <a:alpha val="40000"/>
                      </a:schemeClr>
                    </a:outerShdw>
                  </a:effectLst>
                </a:rPr>
                <a:t>CU</a:t>
              </a:r>
              <a:endParaRPr lang="en-US" dirty="0">
                <a:ln w="0"/>
                <a:solidFill>
                  <a:schemeClr val="tx1"/>
                </a:solidFill>
                <a:effectLst>
                  <a:outerShdw blurRad="38100" dist="19050" dir="2700000" algn="tl" rotWithShape="0">
                    <a:schemeClr val="dk1">
                      <a:alpha val="40000"/>
                    </a:schemeClr>
                  </a:outerShdw>
                </a:effectLst>
              </a:endParaRPr>
            </a:p>
          </p:txBody>
        </p:sp>
        <p:cxnSp>
          <p:nvCxnSpPr>
            <p:cNvPr id="72" name="Straight Arrow Connector 71">
              <a:extLst>
                <a:ext uri="{FF2B5EF4-FFF2-40B4-BE49-F238E27FC236}">
                  <a16:creationId xmlns:a16="http://schemas.microsoft.com/office/drawing/2014/main" id="{01D52010-223E-D969-2D04-E657FB09CB89}"/>
                </a:ext>
              </a:extLst>
            </p:cNvPr>
            <p:cNvCxnSpPr>
              <a:cxnSpLocks/>
              <a:stCxn id="69" idx="2"/>
              <a:endCxn id="67" idx="0"/>
            </p:cNvCxnSpPr>
            <p:nvPr/>
          </p:nvCxnSpPr>
          <p:spPr>
            <a:xfrm flipH="1">
              <a:off x="3160452" y="4382324"/>
              <a:ext cx="22192" cy="427357"/>
            </a:xfrm>
            <a:prstGeom prst="straightConnector1">
              <a:avLst/>
            </a:prstGeom>
            <a:ln>
              <a:headEnd type="arrow" w="med" len="med"/>
              <a:tailEnd type="arrow" w="med" len="med"/>
            </a:ln>
          </p:spPr>
          <p:style>
            <a:lnRef idx="2">
              <a:schemeClr val="accent6"/>
            </a:lnRef>
            <a:fillRef idx="0">
              <a:schemeClr val="accent6"/>
            </a:fillRef>
            <a:effectRef idx="1">
              <a:schemeClr val="accent6"/>
            </a:effectRef>
            <a:fontRef idx="minor">
              <a:schemeClr val="tx1"/>
            </a:fontRef>
          </p:style>
        </p:cxnSp>
        <p:cxnSp>
          <p:nvCxnSpPr>
            <p:cNvPr id="77" name="Straight Arrow Connector 76">
              <a:extLst>
                <a:ext uri="{FF2B5EF4-FFF2-40B4-BE49-F238E27FC236}">
                  <a16:creationId xmlns:a16="http://schemas.microsoft.com/office/drawing/2014/main" id="{9BFC5D04-F4AA-F9C3-0B58-E73B0865F855}"/>
                </a:ext>
              </a:extLst>
            </p:cNvPr>
            <p:cNvCxnSpPr>
              <a:cxnSpLocks/>
              <a:stCxn id="71" idx="2"/>
              <a:endCxn id="69" idx="0"/>
            </p:cNvCxnSpPr>
            <p:nvPr/>
          </p:nvCxnSpPr>
          <p:spPr>
            <a:xfrm>
              <a:off x="3179083" y="3653159"/>
              <a:ext cx="3561" cy="374058"/>
            </a:xfrm>
            <a:prstGeom prst="straightConnector1">
              <a:avLst/>
            </a:prstGeom>
            <a:ln>
              <a:headEnd type="arrow" w="med" len="med"/>
              <a:tailEnd type="arrow" w="med" len="med"/>
            </a:ln>
          </p:spPr>
          <p:style>
            <a:lnRef idx="2">
              <a:schemeClr val="accent6"/>
            </a:lnRef>
            <a:fillRef idx="0">
              <a:schemeClr val="accent6"/>
            </a:fillRef>
            <a:effectRef idx="1">
              <a:schemeClr val="accent6"/>
            </a:effectRef>
            <a:fontRef idx="minor">
              <a:schemeClr val="tx1"/>
            </a:fontRef>
          </p:style>
        </p:cxnSp>
        <p:sp>
          <p:nvSpPr>
            <p:cNvPr id="90" name="TextBox 89">
              <a:extLst>
                <a:ext uri="{FF2B5EF4-FFF2-40B4-BE49-F238E27FC236}">
                  <a16:creationId xmlns:a16="http://schemas.microsoft.com/office/drawing/2014/main" id="{8F5E8EEF-D716-87BC-AF7D-554A548FF539}"/>
                </a:ext>
              </a:extLst>
            </p:cNvPr>
            <p:cNvSpPr txBox="1"/>
            <p:nvPr/>
          </p:nvSpPr>
          <p:spPr>
            <a:xfrm>
              <a:off x="2026355" y="4437785"/>
              <a:ext cx="832279" cy="276999"/>
            </a:xfrm>
            <a:prstGeom prst="rect">
              <a:avLst/>
            </a:prstGeom>
            <a:noFill/>
          </p:spPr>
          <p:txBody>
            <a:bodyPr wrap="none" rtlCol="0">
              <a:spAutoFit/>
            </a:bodyPr>
            <a:lstStyle/>
            <a:p>
              <a:r>
                <a:rPr lang="en-US" sz="1200" dirty="0"/>
                <a:t>Fronthaul</a:t>
              </a:r>
            </a:p>
          </p:txBody>
        </p:sp>
        <p:sp>
          <p:nvSpPr>
            <p:cNvPr id="96" name="TextBox 95">
              <a:extLst>
                <a:ext uri="{FF2B5EF4-FFF2-40B4-BE49-F238E27FC236}">
                  <a16:creationId xmlns:a16="http://schemas.microsoft.com/office/drawing/2014/main" id="{2D11FA9A-1AD0-A8A8-F29D-97CB0856AD34}"/>
                </a:ext>
              </a:extLst>
            </p:cNvPr>
            <p:cNvSpPr txBox="1"/>
            <p:nvPr/>
          </p:nvSpPr>
          <p:spPr>
            <a:xfrm>
              <a:off x="2076773" y="3704476"/>
              <a:ext cx="720069" cy="276999"/>
            </a:xfrm>
            <a:prstGeom prst="rect">
              <a:avLst/>
            </a:prstGeom>
            <a:noFill/>
          </p:spPr>
          <p:txBody>
            <a:bodyPr wrap="none" rtlCol="0">
              <a:spAutoFit/>
            </a:bodyPr>
            <a:lstStyle/>
            <a:p>
              <a:r>
                <a:rPr lang="en-US" sz="1200" dirty="0" err="1"/>
                <a:t>Midhaul</a:t>
              </a:r>
              <a:endParaRPr lang="en-US" sz="1200" dirty="0"/>
            </a:p>
          </p:txBody>
        </p:sp>
        <p:cxnSp>
          <p:nvCxnSpPr>
            <p:cNvPr id="99" name="Straight Arrow Connector 98">
              <a:extLst>
                <a:ext uri="{FF2B5EF4-FFF2-40B4-BE49-F238E27FC236}">
                  <a16:creationId xmlns:a16="http://schemas.microsoft.com/office/drawing/2014/main" id="{55405BE6-2585-619E-2DCA-60DFB939AD4E}"/>
                </a:ext>
              </a:extLst>
            </p:cNvPr>
            <p:cNvCxnSpPr>
              <a:cxnSpLocks/>
              <a:stCxn id="39" idx="1"/>
              <a:endCxn id="71" idx="0"/>
            </p:cNvCxnSpPr>
            <p:nvPr/>
          </p:nvCxnSpPr>
          <p:spPr>
            <a:xfrm>
              <a:off x="2281563" y="2301401"/>
              <a:ext cx="897520" cy="996651"/>
            </a:xfrm>
            <a:prstGeom prst="straightConnector1">
              <a:avLst/>
            </a:prstGeom>
            <a:ln>
              <a:headEnd type="arrow" w="med" len="med"/>
              <a:tailEnd type="arrow" w="med" len="med"/>
            </a:ln>
          </p:spPr>
          <p:style>
            <a:lnRef idx="2">
              <a:schemeClr val="accent6"/>
            </a:lnRef>
            <a:fillRef idx="0">
              <a:schemeClr val="accent6"/>
            </a:fillRef>
            <a:effectRef idx="1">
              <a:schemeClr val="accent6"/>
            </a:effectRef>
            <a:fontRef idx="minor">
              <a:schemeClr val="tx1"/>
            </a:fontRef>
          </p:style>
        </p:cxnSp>
      </p:grpSp>
      <p:sp>
        <p:nvSpPr>
          <p:cNvPr id="105" name="TextBox 104">
            <a:extLst>
              <a:ext uri="{FF2B5EF4-FFF2-40B4-BE49-F238E27FC236}">
                <a16:creationId xmlns:a16="http://schemas.microsoft.com/office/drawing/2014/main" id="{2C42EE1F-DA85-E135-AC7B-E3E331423438}"/>
              </a:ext>
            </a:extLst>
          </p:cNvPr>
          <p:cNvSpPr txBox="1"/>
          <p:nvPr/>
        </p:nvSpPr>
        <p:spPr>
          <a:xfrm>
            <a:off x="3217225" y="4820607"/>
            <a:ext cx="4146762" cy="646331"/>
          </a:xfrm>
          <a:prstGeom prst="rect">
            <a:avLst/>
          </a:prstGeom>
          <a:noFill/>
        </p:spPr>
        <p:txBody>
          <a:bodyPr wrap="square" rtlCol="0">
            <a:spAutoFit/>
          </a:bodyPr>
          <a:lstStyle/>
          <a:p>
            <a:r>
              <a:rPr lang="en-US" sz="1200" dirty="0"/>
              <a:t>In 5G instead of BBU, we have central unit or CU and distributed unit or DU. Fronthaul and backhaul remains same. </a:t>
            </a:r>
            <a:r>
              <a:rPr lang="en-US" sz="1200" dirty="0" err="1"/>
              <a:t>Midhaul</a:t>
            </a:r>
            <a:r>
              <a:rPr lang="en-US" sz="1200" dirty="0"/>
              <a:t> has been introduced to connect CU-DU.</a:t>
            </a:r>
          </a:p>
        </p:txBody>
      </p:sp>
      <p:grpSp>
        <p:nvGrpSpPr>
          <p:cNvPr id="184" name="Group 183">
            <a:extLst>
              <a:ext uri="{FF2B5EF4-FFF2-40B4-BE49-F238E27FC236}">
                <a16:creationId xmlns:a16="http://schemas.microsoft.com/office/drawing/2014/main" id="{7AA5E8AC-E350-23C5-F3BD-ECBD945F219E}"/>
              </a:ext>
            </a:extLst>
          </p:cNvPr>
          <p:cNvGrpSpPr/>
          <p:nvPr/>
        </p:nvGrpSpPr>
        <p:grpSpPr>
          <a:xfrm>
            <a:off x="7563954" y="1325375"/>
            <a:ext cx="4220323" cy="4911860"/>
            <a:chOff x="5608741" y="754541"/>
            <a:chExt cx="4316020" cy="5687185"/>
          </a:xfrm>
        </p:grpSpPr>
        <p:sp>
          <p:nvSpPr>
            <p:cNvPr id="116" name="Rectangle: Rounded Corners 115">
              <a:extLst>
                <a:ext uri="{FF2B5EF4-FFF2-40B4-BE49-F238E27FC236}">
                  <a16:creationId xmlns:a16="http://schemas.microsoft.com/office/drawing/2014/main" id="{E03BB692-E537-FB51-1142-9BCE5A0E40FA}"/>
                </a:ext>
              </a:extLst>
            </p:cNvPr>
            <p:cNvSpPr/>
            <p:nvPr/>
          </p:nvSpPr>
          <p:spPr>
            <a:xfrm>
              <a:off x="5608741" y="754541"/>
              <a:ext cx="4316020" cy="5687185"/>
            </a:xfrm>
            <a:prstGeom prst="round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9" name="Group 148">
              <a:extLst>
                <a:ext uri="{FF2B5EF4-FFF2-40B4-BE49-F238E27FC236}">
                  <a16:creationId xmlns:a16="http://schemas.microsoft.com/office/drawing/2014/main" id="{2B2701E3-3FAC-730C-0674-934DDDB75C6A}"/>
                </a:ext>
              </a:extLst>
            </p:cNvPr>
            <p:cNvGrpSpPr/>
            <p:nvPr/>
          </p:nvGrpSpPr>
          <p:grpSpPr>
            <a:xfrm>
              <a:off x="6100923" y="974294"/>
              <a:ext cx="2352599" cy="5191845"/>
              <a:chOff x="5959944" y="546623"/>
              <a:chExt cx="2115786" cy="4903983"/>
            </a:xfrm>
          </p:grpSpPr>
          <p:sp>
            <p:nvSpPr>
              <p:cNvPr id="118" name="Rectangle 117">
                <a:extLst>
                  <a:ext uri="{FF2B5EF4-FFF2-40B4-BE49-F238E27FC236}">
                    <a16:creationId xmlns:a16="http://schemas.microsoft.com/office/drawing/2014/main" id="{4925CA2B-9E46-2196-78E3-7480683A035A}"/>
                  </a:ext>
                </a:extLst>
              </p:cNvPr>
              <p:cNvSpPr/>
              <p:nvPr/>
            </p:nvSpPr>
            <p:spPr>
              <a:xfrm>
                <a:off x="5966606" y="2491001"/>
                <a:ext cx="2109124" cy="1022643"/>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4" name="Rectangle 123">
                <a:extLst>
                  <a:ext uri="{FF2B5EF4-FFF2-40B4-BE49-F238E27FC236}">
                    <a16:creationId xmlns:a16="http://schemas.microsoft.com/office/drawing/2014/main" id="{58ECB708-73C2-9D8F-3C12-06FD2640C3B5}"/>
                  </a:ext>
                </a:extLst>
              </p:cNvPr>
              <p:cNvSpPr/>
              <p:nvPr/>
            </p:nvSpPr>
            <p:spPr>
              <a:xfrm>
                <a:off x="5996833" y="2592720"/>
                <a:ext cx="2044827" cy="39861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accent6">
                        <a:lumMod val="50000"/>
                      </a:schemeClr>
                    </a:solidFill>
                  </a:rPr>
                  <a:t>V2</a:t>
                </a:r>
                <a:endParaRPr lang="en-US" dirty="0">
                  <a:solidFill>
                    <a:schemeClr val="accent6">
                      <a:lumMod val="50000"/>
                    </a:schemeClr>
                  </a:solidFill>
                </a:endParaRPr>
              </a:p>
            </p:txBody>
          </p:sp>
          <p:sp>
            <p:nvSpPr>
              <p:cNvPr id="125" name="Rectangle 124">
                <a:extLst>
                  <a:ext uri="{FF2B5EF4-FFF2-40B4-BE49-F238E27FC236}">
                    <a16:creationId xmlns:a16="http://schemas.microsoft.com/office/drawing/2014/main" id="{E23E9B1E-D40F-373E-EE77-0C84D65C7C05}"/>
                  </a:ext>
                </a:extLst>
              </p:cNvPr>
              <p:cNvSpPr/>
              <p:nvPr/>
            </p:nvSpPr>
            <p:spPr>
              <a:xfrm>
                <a:off x="6007109" y="2062843"/>
                <a:ext cx="2044827" cy="398618"/>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Transport Network</a:t>
                </a:r>
              </a:p>
            </p:txBody>
          </p:sp>
          <p:sp>
            <p:nvSpPr>
              <p:cNvPr id="126" name="Rectangle 125">
                <a:extLst>
                  <a:ext uri="{FF2B5EF4-FFF2-40B4-BE49-F238E27FC236}">
                    <a16:creationId xmlns:a16="http://schemas.microsoft.com/office/drawing/2014/main" id="{8070DD2B-DFF4-9DF4-3956-42BA63809FC2}"/>
                  </a:ext>
                </a:extLst>
              </p:cNvPr>
              <p:cNvSpPr/>
              <p:nvPr/>
            </p:nvSpPr>
            <p:spPr>
              <a:xfrm>
                <a:off x="6451182" y="548103"/>
                <a:ext cx="249345" cy="990440"/>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a:t>service</a:t>
                </a:r>
                <a:endParaRPr lang="en-US" dirty="0"/>
              </a:p>
            </p:txBody>
          </p:sp>
          <p:sp>
            <p:nvSpPr>
              <p:cNvPr id="127" name="Rectangle 126">
                <a:extLst>
                  <a:ext uri="{FF2B5EF4-FFF2-40B4-BE49-F238E27FC236}">
                    <a16:creationId xmlns:a16="http://schemas.microsoft.com/office/drawing/2014/main" id="{7113CE04-1008-D9FF-00F8-AEF7B2C70E45}"/>
                  </a:ext>
                </a:extLst>
              </p:cNvPr>
              <p:cNvSpPr/>
              <p:nvPr/>
            </p:nvSpPr>
            <p:spPr>
              <a:xfrm>
                <a:off x="6889834" y="553764"/>
                <a:ext cx="249345" cy="990440"/>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a:t>service</a:t>
                </a:r>
                <a:endParaRPr lang="en-US" dirty="0"/>
              </a:p>
            </p:txBody>
          </p:sp>
          <p:sp>
            <p:nvSpPr>
              <p:cNvPr id="128" name="Rectangle 127">
                <a:extLst>
                  <a:ext uri="{FF2B5EF4-FFF2-40B4-BE49-F238E27FC236}">
                    <a16:creationId xmlns:a16="http://schemas.microsoft.com/office/drawing/2014/main" id="{E05FF2ED-4AE9-4CEE-3DA6-968E116A183E}"/>
                  </a:ext>
                </a:extLst>
              </p:cNvPr>
              <p:cNvSpPr/>
              <p:nvPr/>
            </p:nvSpPr>
            <p:spPr>
              <a:xfrm>
                <a:off x="7364393" y="549156"/>
                <a:ext cx="249345" cy="990440"/>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a:t>service</a:t>
                </a:r>
                <a:endParaRPr lang="en-US" dirty="0"/>
              </a:p>
            </p:txBody>
          </p:sp>
          <p:sp>
            <p:nvSpPr>
              <p:cNvPr id="129" name="Rectangle 128">
                <a:extLst>
                  <a:ext uri="{FF2B5EF4-FFF2-40B4-BE49-F238E27FC236}">
                    <a16:creationId xmlns:a16="http://schemas.microsoft.com/office/drawing/2014/main" id="{6D27AFEB-63A4-9DD3-A833-CC1EF57E39CC}"/>
                  </a:ext>
                </a:extLst>
              </p:cNvPr>
              <p:cNvSpPr/>
              <p:nvPr/>
            </p:nvSpPr>
            <p:spPr>
              <a:xfrm>
                <a:off x="7797850" y="549156"/>
                <a:ext cx="249345" cy="990440"/>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a:t>service</a:t>
                </a:r>
                <a:endParaRPr lang="en-US" dirty="0"/>
              </a:p>
            </p:txBody>
          </p:sp>
          <p:sp>
            <p:nvSpPr>
              <p:cNvPr id="130" name="Rectangle 129">
                <a:extLst>
                  <a:ext uri="{FF2B5EF4-FFF2-40B4-BE49-F238E27FC236}">
                    <a16:creationId xmlns:a16="http://schemas.microsoft.com/office/drawing/2014/main" id="{07001075-CB4E-5F4B-611B-9F9A6609500E}"/>
                  </a:ext>
                </a:extLst>
              </p:cNvPr>
              <p:cNvSpPr/>
              <p:nvPr/>
            </p:nvSpPr>
            <p:spPr>
              <a:xfrm>
                <a:off x="6026162" y="546623"/>
                <a:ext cx="249345" cy="990440"/>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a:t>service</a:t>
                </a:r>
                <a:endParaRPr lang="en-US" sz="1600" dirty="0"/>
              </a:p>
            </p:txBody>
          </p:sp>
          <p:sp>
            <p:nvSpPr>
              <p:cNvPr id="131" name="Rectangle 130">
                <a:extLst>
                  <a:ext uri="{FF2B5EF4-FFF2-40B4-BE49-F238E27FC236}">
                    <a16:creationId xmlns:a16="http://schemas.microsoft.com/office/drawing/2014/main" id="{B35C5E04-665E-BF14-C0C1-D179011EE6DC}"/>
                  </a:ext>
                </a:extLst>
              </p:cNvPr>
              <p:cNvSpPr/>
              <p:nvPr/>
            </p:nvSpPr>
            <p:spPr>
              <a:xfrm>
                <a:off x="5992093" y="1627414"/>
                <a:ext cx="2044826" cy="398618"/>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Core Network</a:t>
                </a:r>
                <a:endParaRPr lang="en-US" sz="1600" dirty="0"/>
              </a:p>
            </p:txBody>
          </p:sp>
          <p:sp>
            <p:nvSpPr>
              <p:cNvPr id="132" name="Rectangle 131">
                <a:extLst>
                  <a:ext uri="{FF2B5EF4-FFF2-40B4-BE49-F238E27FC236}">
                    <a16:creationId xmlns:a16="http://schemas.microsoft.com/office/drawing/2014/main" id="{0F80B90F-7E73-D553-A4D5-5698BB49F8DC}"/>
                  </a:ext>
                </a:extLst>
              </p:cNvPr>
              <p:cNvSpPr/>
              <p:nvPr/>
            </p:nvSpPr>
            <p:spPr>
              <a:xfrm>
                <a:off x="6007109" y="3010315"/>
                <a:ext cx="2044827" cy="39861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COTS Servers</a:t>
                </a:r>
              </a:p>
            </p:txBody>
          </p:sp>
          <p:grpSp>
            <p:nvGrpSpPr>
              <p:cNvPr id="147" name="Group 146">
                <a:extLst>
                  <a:ext uri="{FF2B5EF4-FFF2-40B4-BE49-F238E27FC236}">
                    <a16:creationId xmlns:a16="http://schemas.microsoft.com/office/drawing/2014/main" id="{A1883C8C-EB37-C304-E28D-C2072F9D6479}"/>
                  </a:ext>
                </a:extLst>
              </p:cNvPr>
              <p:cNvGrpSpPr/>
              <p:nvPr/>
            </p:nvGrpSpPr>
            <p:grpSpPr>
              <a:xfrm>
                <a:off x="5959944" y="3543392"/>
                <a:ext cx="2109124" cy="1907214"/>
                <a:chOff x="5983987" y="3580480"/>
                <a:chExt cx="2109124" cy="1907214"/>
              </a:xfrm>
            </p:grpSpPr>
            <p:sp>
              <p:nvSpPr>
                <p:cNvPr id="146" name="Rectangle 145">
                  <a:extLst>
                    <a:ext uri="{FF2B5EF4-FFF2-40B4-BE49-F238E27FC236}">
                      <a16:creationId xmlns:a16="http://schemas.microsoft.com/office/drawing/2014/main" id="{D7FC158F-598A-E8E0-EC3D-C84AC3A67F66}"/>
                    </a:ext>
                  </a:extLst>
                </p:cNvPr>
                <p:cNvSpPr/>
                <p:nvPr/>
              </p:nvSpPr>
              <p:spPr>
                <a:xfrm>
                  <a:off x="5983987" y="3580480"/>
                  <a:ext cx="2109124" cy="88456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9" name="Rectangle 118">
                  <a:extLst>
                    <a:ext uri="{FF2B5EF4-FFF2-40B4-BE49-F238E27FC236}">
                      <a16:creationId xmlns:a16="http://schemas.microsoft.com/office/drawing/2014/main" id="{FA8B7DF8-5A94-90F7-CF0F-921F761F2436}"/>
                    </a:ext>
                  </a:extLst>
                </p:cNvPr>
                <p:cNvSpPr/>
                <p:nvPr/>
              </p:nvSpPr>
              <p:spPr>
                <a:xfrm>
                  <a:off x="6508539" y="4465048"/>
                  <a:ext cx="249345" cy="1022646"/>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a:t>Vendor A</a:t>
                  </a:r>
                </a:p>
              </p:txBody>
            </p:sp>
            <p:sp>
              <p:nvSpPr>
                <p:cNvPr id="120" name="Rectangle 119">
                  <a:extLst>
                    <a:ext uri="{FF2B5EF4-FFF2-40B4-BE49-F238E27FC236}">
                      <a16:creationId xmlns:a16="http://schemas.microsoft.com/office/drawing/2014/main" id="{66678F96-2AE2-204F-72B3-32496E604634}"/>
                    </a:ext>
                  </a:extLst>
                </p:cNvPr>
                <p:cNvSpPr/>
                <p:nvPr/>
              </p:nvSpPr>
              <p:spPr>
                <a:xfrm>
                  <a:off x="6934767" y="4465048"/>
                  <a:ext cx="249345" cy="1022646"/>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a:solidFill>
                        <a:srgbClr val="002060"/>
                      </a:solidFill>
                    </a:rPr>
                    <a:t>Vendor B</a:t>
                  </a:r>
                </a:p>
              </p:txBody>
            </p:sp>
            <p:sp>
              <p:nvSpPr>
                <p:cNvPr id="121" name="Rectangle 120">
                  <a:extLst>
                    <a:ext uri="{FF2B5EF4-FFF2-40B4-BE49-F238E27FC236}">
                      <a16:creationId xmlns:a16="http://schemas.microsoft.com/office/drawing/2014/main" id="{369A681A-23BB-EF63-A21C-A40269341E8B}"/>
                    </a:ext>
                  </a:extLst>
                </p:cNvPr>
                <p:cNvSpPr/>
                <p:nvPr/>
              </p:nvSpPr>
              <p:spPr>
                <a:xfrm>
                  <a:off x="7407184" y="4465048"/>
                  <a:ext cx="249345" cy="1022646"/>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a:solidFill>
                        <a:srgbClr val="002060"/>
                      </a:solidFill>
                    </a:rPr>
                    <a:t>Vendor B</a:t>
                  </a:r>
                </a:p>
              </p:txBody>
            </p:sp>
            <p:sp>
              <p:nvSpPr>
                <p:cNvPr id="122" name="Rectangle 121">
                  <a:extLst>
                    <a:ext uri="{FF2B5EF4-FFF2-40B4-BE49-F238E27FC236}">
                      <a16:creationId xmlns:a16="http://schemas.microsoft.com/office/drawing/2014/main" id="{79D3120A-9BEF-9995-B5E3-8AEA97EE7450}"/>
                    </a:ext>
                  </a:extLst>
                </p:cNvPr>
                <p:cNvSpPr/>
                <p:nvPr/>
              </p:nvSpPr>
              <p:spPr>
                <a:xfrm>
                  <a:off x="7797850" y="4451946"/>
                  <a:ext cx="295261" cy="1022646"/>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a:solidFill>
                        <a:srgbClr val="FFFF00"/>
                      </a:solidFill>
                    </a:rPr>
                    <a:t>Vendor C</a:t>
                  </a:r>
                </a:p>
              </p:txBody>
            </p:sp>
            <p:sp>
              <p:nvSpPr>
                <p:cNvPr id="123" name="Rectangle 122">
                  <a:extLst>
                    <a:ext uri="{FF2B5EF4-FFF2-40B4-BE49-F238E27FC236}">
                      <a16:creationId xmlns:a16="http://schemas.microsoft.com/office/drawing/2014/main" id="{FADDF670-2DC5-C134-9460-6228E3769E65}"/>
                    </a:ext>
                  </a:extLst>
                </p:cNvPr>
                <p:cNvSpPr/>
                <p:nvPr/>
              </p:nvSpPr>
              <p:spPr>
                <a:xfrm>
                  <a:off x="6000210" y="4461755"/>
                  <a:ext cx="291779" cy="1022643"/>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a:t>Vendor A</a:t>
                  </a:r>
                </a:p>
              </p:txBody>
            </p:sp>
            <p:sp>
              <p:nvSpPr>
                <p:cNvPr id="134" name="Rectangle 133">
                  <a:extLst>
                    <a:ext uri="{FF2B5EF4-FFF2-40B4-BE49-F238E27FC236}">
                      <a16:creationId xmlns:a16="http://schemas.microsoft.com/office/drawing/2014/main" id="{FDE5FDC7-FD04-F26B-0CA8-688921698814}"/>
                    </a:ext>
                  </a:extLst>
                </p:cNvPr>
                <p:cNvSpPr/>
                <p:nvPr/>
              </p:nvSpPr>
              <p:spPr>
                <a:xfrm>
                  <a:off x="5996833" y="3686088"/>
                  <a:ext cx="740902" cy="34687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accent6">
                          <a:lumMod val="50000"/>
                        </a:schemeClr>
                      </a:solidFill>
                    </a:rPr>
                    <a:t>V3</a:t>
                  </a:r>
                  <a:endParaRPr lang="en-US" dirty="0">
                    <a:solidFill>
                      <a:schemeClr val="accent6">
                        <a:lumMod val="50000"/>
                      </a:schemeClr>
                    </a:solidFill>
                  </a:endParaRPr>
                </a:p>
              </p:txBody>
            </p:sp>
            <p:sp>
              <p:nvSpPr>
                <p:cNvPr id="136" name="Rectangle 135">
                  <a:extLst>
                    <a:ext uri="{FF2B5EF4-FFF2-40B4-BE49-F238E27FC236}">
                      <a16:creationId xmlns:a16="http://schemas.microsoft.com/office/drawing/2014/main" id="{11F60C06-44A3-2792-508E-AFDF9083032F}"/>
                    </a:ext>
                  </a:extLst>
                </p:cNvPr>
                <p:cNvSpPr/>
                <p:nvPr/>
              </p:nvSpPr>
              <p:spPr>
                <a:xfrm>
                  <a:off x="6007109" y="4064675"/>
                  <a:ext cx="740902" cy="34687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accent6">
                          <a:lumMod val="50000"/>
                        </a:schemeClr>
                      </a:solidFill>
                    </a:rPr>
                    <a:t>COTS</a:t>
                  </a:r>
                  <a:endParaRPr lang="en-US" dirty="0">
                    <a:solidFill>
                      <a:schemeClr val="accent6">
                        <a:lumMod val="50000"/>
                      </a:schemeClr>
                    </a:solidFill>
                  </a:endParaRPr>
                </a:p>
              </p:txBody>
            </p:sp>
            <p:sp>
              <p:nvSpPr>
                <p:cNvPr id="138" name="Rectangle 137">
                  <a:extLst>
                    <a:ext uri="{FF2B5EF4-FFF2-40B4-BE49-F238E27FC236}">
                      <a16:creationId xmlns:a16="http://schemas.microsoft.com/office/drawing/2014/main" id="{A1600A78-8458-EC9D-B43C-31DA375602DB}"/>
                    </a:ext>
                  </a:extLst>
                </p:cNvPr>
                <p:cNvSpPr/>
                <p:nvPr/>
              </p:nvSpPr>
              <p:spPr>
                <a:xfrm>
                  <a:off x="6893768" y="4064675"/>
                  <a:ext cx="740902" cy="34687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accent6">
                          <a:lumMod val="50000"/>
                        </a:schemeClr>
                      </a:solidFill>
                    </a:rPr>
                    <a:t>COTS</a:t>
                  </a:r>
                  <a:endParaRPr lang="en-US" dirty="0">
                    <a:solidFill>
                      <a:schemeClr val="accent6">
                        <a:lumMod val="50000"/>
                      </a:schemeClr>
                    </a:solidFill>
                  </a:endParaRPr>
                </a:p>
              </p:txBody>
            </p:sp>
            <p:sp>
              <p:nvSpPr>
                <p:cNvPr id="140" name="Rectangle 139">
                  <a:extLst>
                    <a:ext uri="{FF2B5EF4-FFF2-40B4-BE49-F238E27FC236}">
                      <a16:creationId xmlns:a16="http://schemas.microsoft.com/office/drawing/2014/main" id="{8F3DF77B-1044-C937-4544-FE7AC86DE0B1}"/>
                    </a:ext>
                  </a:extLst>
                </p:cNvPr>
                <p:cNvSpPr/>
                <p:nvPr/>
              </p:nvSpPr>
              <p:spPr>
                <a:xfrm>
                  <a:off x="7789734" y="4078700"/>
                  <a:ext cx="303377" cy="33628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600" dirty="0">
                      <a:solidFill>
                        <a:srgbClr val="000000"/>
                      </a:solidFill>
                    </a:rPr>
                    <a:t>COTS</a:t>
                  </a:r>
                </a:p>
              </p:txBody>
            </p:sp>
            <p:sp>
              <p:nvSpPr>
                <p:cNvPr id="142" name="Rectangle 141">
                  <a:extLst>
                    <a:ext uri="{FF2B5EF4-FFF2-40B4-BE49-F238E27FC236}">
                      <a16:creationId xmlns:a16="http://schemas.microsoft.com/office/drawing/2014/main" id="{8AA3DE76-A00A-9CB5-A027-78D9947E94F0}"/>
                    </a:ext>
                  </a:extLst>
                </p:cNvPr>
                <p:cNvSpPr/>
                <p:nvPr/>
              </p:nvSpPr>
              <p:spPr>
                <a:xfrm>
                  <a:off x="6901227" y="3686087"/>
                  <a:ext cx="740902" cy="34687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accent6">
                          <a:lumMod val="50000"/>
                        </a:schemeClr>
                      </a:solidFill>
                    </a:rPr>
                    <a:t>V2</a:t>
                  </a:r>
                  <a:endParaRPr lang="en-US" dirty="0">
                    <a:solidFill>
                      <a:schemeClr val="accent6">
                        <a:lumMod val="50000"/>
                      </a:schemeClr>
                    </a:solidFill>
                  </a:endParaRPr>
                </a:p>
              </p:txBody>
            </p:sp>
            <p:sp>
              <p:nvSpPr>
                <p:cNvPr id="144" name="Rectangle 143">
                  <a:extLst>
                    <a:ext uri="{FF2B5EF4-FFF2-40B4-BE49-F238E27FC236}">
                      <a16:creationId xmlns:a16="http://schemas.microsoft.com/office/drawing/2014/main" id="{9EF2B1F4-D359-C265-B6C1-278FDFAC0B1C}"/>
                    </a:ext>
                  </a:extLst>
                </p:cNvPr>
                <p:cNvSpPr/>
                <p:nvPr/>
              </p:nvSpPr>
              <p:spPr>
                <a:xfrm>
                  <a:off x="7783406" y="3704642"/>
                  <a:ext cx="292323" cy="328316"/>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200" dirty="0">
                      <a:solidFill>
                        <a:srgbClr val="000000"/>
                      </a:solidFill>
                    </a:rPr>
                    <a:t>V4</a:t>
                  </a:r>
                  <a:endParaRPr lang="en-US" sz="900" dirty="0">
                    <a:solidFill>
                      <a:srgbClr val="000000"/>
                    </a:solidFill>
                  </a:endParaRPr>
                </a:p>
              </p:txBody>
            </p:sp>
          </p:grpSp>
        </p:grpSp>
        <p:grpSp>
          <p:nvGrpSpPr>
            <p:cNvPr id="161" name="Group 160">
              <a:extLst>
                <a:ext uri="{FF2B5EF4-FFF2-40B4-BE49-F238E27FC236}">
                  <a16:creationId xmlns:a16="http://schemas.microsoft.com/office/drawing/2014/main" id="{2F4A63E1-73A6-C442-E3DB-BD89924A813C}"/>
                </a:ext>
              </a:extLst>
            </p:cNvPr>
            <p:cNvGrpSpPr/>
            <p:nvPr/>
          </p:nvGrpSpPr>
          <p:grpSpPr>
            <a:xfrm>
              <a:off x="8511411" y="1243623"/>
              <a:ext cx="1222345" cy="779249"/>
              <a:chOff x="10085989" y="1085214"/>
              <a:chExt cx="1289022" cy="528316"/>
            </a:xfrm>
          </p:grpSpPr>
          <p:sp>
            <p:nvSpPr>
              <p:cNvPr id="160" name="Rectangle 159">
                <a:extLst>
                  <a:ext uri="{FF2B5EF4-FFF2-40B4-BE49-F238E27FC236}">
                    <a16:creationId xmlns:a16="http://schemas.microsoft.com/office/drawing/2014/main" id="{F8DDD02B-48B6-3219-9112-20ACF486EFD1}"/>
                  </a:ext>
                </a:extLst>
              </p:cNvPr>
              <p:cNvSpPr/>
              <p:nvPr/>
            </p:nvSpPr>
            <p:spPr>
              <a:xfrm>
                <a:off x="10158834" y="1085214"/>
                <a:ext cx="1143332" cy="528316"/>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1" name="TextBox 150">
                <a:extLst>
                  <a:ext uri="{FF2B5EF4-FFF2-40B4-BE49-F238E27FC236}">
                    <a16:creationId xmlns:a16="http://schemas.microsoft.com/office/drawing/2014/main" id="{E129E70C-2F5F-834D-4725-FEA4B08BA57B}"/>
                  </a:ext>
                </a:extLst>
              </p:cNvPr>
              <p:cNvSpPr txBox="1"/>
              <p:nvPr/>
            </p:nvSpPr>
            <p:spPr>
              <a:xfrm>
                <a:off x="10085989" y="1258566"/>
                <a:ext cx="1289022" cy="187425"/>
              </a:xfrm>
              <a:prstGeom prst="rect">
                <a:avLst/>
              </a:prstGeom>
              <a:noFill/>
            </p:spPr>
            <p:txBody>
              <a:bodyPr wrap="square">
                <a:spAutoFit/>
              </a:bodyPr>
              <a:lstStyle/>
              <a:p>
                <a:pPr algn="ctr"/>
                <a:r>
                  <a:rPr lang="en-US" sz="1400" b="1" dirty="0">
                    <a:solidFill>
                      <a:schemeClr val="bg1"/>
                    </a:solidFill>
                  </a:rPr>
                  <a:t>Services</a:t>
                </a:r>
                <a:endParaRPr lang="en-US" sz="1200" b="1" dirty="0">
                  <a:solidFill>
                    <a:schemeClr val="bg1"/>
                  </a:solidFill>
                </a:endParaRPr>
              </a:p>
            </p:txBody>
          </p:sp>
        </p:grpSp>
        <p:grpSp>
          <p:nvGrpSpPr>
            <p:cNvPr id="173" name="Group 172">
              <a:extLst>
                <a:ext uri="{FF2B5EF4-FFF2-40B4-BE49-F238E27FC236}">
                  <a16:creationId xmlns:a16="http://schemas.microsoft.com/office/drawing/2014/main" id="{DE0E50A3-451E-AEB6-0C41-A185C7EBB535}"/>
                </a:ext>
              </a:extLst>
            </p:cNvPr>
            <p:cNvGrpSpPr/>
            <p:nvPr/>
          </p:nvGrpSpPr>
          <p:grpSpPr>
            <a:xfrm>
              <a:off x="8535468" y="2084583"/>
              <a:ext cx="1133441" cy="455961"/>
              <a:chOff x="10384906" y="2118527"/>
              <a:chExt cx="1501370" cy="581227"/>
            </a:xfrm>
          </p:grpSpPr>
          <p:sp>
            <p:nvSpPr>
              <p:cNvPr id="170" name="Rectangle 169">
                <a:extLst>
                  <a:ext uri="{FF2B5EF4-FFF2-40B4-BE49-F238E27FC236}">
                    <a16:creationId xmlns:a16="http://schemas.microsoft.com/office/drawing/2014/main" id="{0DD9627F-17F2-FB4D-F0EA-0D4EBE130B91}"/>
                  </a:ext>
                </a:extLst>
              </p:cNvPr>
              <p:cNvSpPr/>
              <p:nvPr/>
            </p:nvSpPr>
            <p:spPr>
              <a:xfrm>
                <a:off x="10449017" y="2118527"/>
                <a:ext cx="1437259" cy="58122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2" name="TextBox 171">
                <a:extLst>
                  <a:ext uri="{FF2B5EF4-FFF2-40B4-BE49-F238E27FC236}">
                    <a16:creationId xmlns:a16="http://schemas.microsoft.com/office/drawing/2014/main" id="{466D3734-1613-7815-8CB9-9A6B6D8CF612}"/>
                  </a:ext>
                </a:extLst>
              </p:cNvPr>
              <p:cNvSpPr txBox="1"/>
              <p:nvPr/>
            </p:nvSpPr>
            <p:spPr>
              <a:xfrm>
                <a:off x="10384906" y="2183338"/>
                <a:ext cx="1436133" cy="333482"/>
              </a:xfrm>
              <a:prstGeom prst="rect">
                <a:avLst/>
              </a:prstGeom>
              <a:noFill/>
            </p:spPr>
            <p:txBody>
              <a:bodyPr wrap="square">
                <a:spAutoFit/>
              </a:bodyPr>
              <a:lstStyle/>
              <a:p>
                <a:pPr algn="ctr"/>
                <a:r>
                  <a:rPr lang="en-US" sz="1050" b="1" dirty="0">
                    <a:solidFill>
                      <a:schemeClr val="bg1"/>
                    </a:solidFill>
                  </a:rPr>
                  <a:t>Core Network</a:t>
                </a:r>
              </a:p>
            </p:txBody>
          </p:sp>
        </p:grpSp>
        <p:sp>
          <p:nvSpPr>
            <p:cNvPr id="176" name="TextBox 175">
              <a:extLst>
                <a:ext uri="{FF2B5EF4-FFF2-40B4-BE49-F238E27FC236}">
                  <a16:creationId xmlns:a16="http://schemas.microsoft.com/office/drawing/2014/main" id="{4C182B4F-BFA6-8134-CA3F-F347C67C86C4}"/>
                </a:ext>
              </a:extLst>
            </p:cNvPr>
            <p:cNvSpPr txBox="1"/>
            <p:nvPr/>
          </p:nvSpPr>
          <p:spPr>
            <a:xfrm>
              <a:off x="8554406" y="2595402"/>
              <a:ext cx="1091815" cy="415498"/>
            </a:xfrm>
            <a:prstGeom prst="rect">
              <a:avLst/>
            </a:prstGeom>
            <a:solidFill>
              <a:schemeClr val="accent1">
                <a:lumMod val="50000"/>
              </a:schemeClr>
            </a:solidFill>
          </p:spPr>
          <p:txBody>
            <a:bodyPr wrap="square">
              <a:spAutoFit/>
            </a:bodyPr>
            <a:lstStyle/>
            <a:p>
              <a:pPr algn="ctr"/>
              <a:r>
                <a:rPr lang="en-US" sz="1050" b="1" dirty="0">
                  <a:solidFill>
                    <a:schemeClr val="bg1"/>
                  </a:solidFill>
                </a:rPr>
                <a:t>Transport Network</a:t>
              </a:r>
            </a:p>
          </p:txBody>
        </p:sp>
        <p:sp>
          <p:nvSpPr>
            <p:cNvPr id="179" name="Rectangle 178">
              <a:extLst>
                <a:ext uri="{FF2B5EF4-FFF2-40B4-BE49-F238E27FC236}">
                  <a16:creationId xmlns:a16="http://schemas.microsoft.com/office/drawing/2014/main" id="{97194D50-E325-C129-F48D-FA50A8414814}"/>
                </a:ext>
              </a:extLst>
            </p:cNvPr>
            <p:cNvSpPr/>
            <p:nvPr/>
          </p:nvSpPr>
          <p:spPr>
            <a:xfrm>
              <a:off x="8573346" y="3050559"/>
              <a:ext cx="1046313" cy="1064919"/>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err="1">
                  <a:solidFill>
                    <a:srgbClr val="7030A0"/>
                  </a:solidFill>
                </a:rPr>
                <a:t>OpenRAN</a:t>
              </a:r>
              <a:r>
                <a:rPr lang="en-US" sz="1400" b="1" dirty="0">
                  <a:solidFill>
                    <a:srgbClr val="7030A0"/>
                  </a:solidFill>
                </a:rPr>
                <a:t> CU</a:t>
              </a:r>
            </a:p>
          </p:txBody>
        </p:sp>
        <p:sp>
          <p:nvSpPr>
            <p:cNvPr id="181" name="Rectangle 180">
              <a:extLst>
                <a:ext uri="{FF2B5EF4-FFF2-40B4-BE49-F238E27FC236}">
                  <a16:creationId xmlns:a16="http://schemas.microsoft.com/office/drawing/2014/main" id="{819914F7-8892-0BA3-48CA-4E07406E785F}"/>
                </a:ext>
              </a:extLst>
            </p:cNvPr>
            <p:cNvSpPr/>
            <p:nvPr/>
          </p:nvSpPr>
          <p:spPr>
            <a:xfrm>
              <a:off x="8549643" y="4146972"/>
              <a:ext cx="1084191" cy="92262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err="1">
                  <a:solidFill>
                    <a:srgbClr val="7030A0"/>
                  </a:solidFill>
                </a:rPr>
                <a:t>OpenRAN</a:t>
              </a:r>
              <a:r>
                <a:rPr lang="en-US" sz="1400" b="1" dirty="0">
                  <a:solidFill>
                    <a:srgbClr val="7030A0"/>
                  </a:solidFill>
                </a:rPr>
                <a:t> DU</a:t>
              </a:r>
            </a:p>
          </p:txBody>
        </p:sp>
        <p:sp>
          <p:nvSpPr>
            <p:cNvPr id="183" name="Rectangle 182">
              <a:extLst>
                <a:ext uri="{FF2B5EF4-FFF2-40B4-BE49-F238E27FC236}">
                  <a16:creationId xmlns:a16="http://schemas.microsoft.com/office/drawing/2014/main" id="{3BE7BAC6-2BA8-D139-A0B6-B846E8AE1436}"/>
                </a:ext>
              </a:extLst>
            </p:cNvPr>
            <p:cNvSpPr/>
            <p:nvPr/>
          </p:nvSpPr>
          <p:spPr>
            <a:xfrm>
              <a:off x="8558217" y="5101087"/>
              <a:ext cx="1084191" cy="1051181"/>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err="1">
                  <a:solidFill>
                    <a:schemeClr val="bg1"/>
                  </a:solidFill>
                </a:rPr>
                <a:t>OpenRAN</a:t>
              </a:r>
              <a:r>
                <a:rPr lang="en-US" sz="1400" b="1" dirty="0">
                  <a:solidFill>
                    <a:schemeClr val="bg1"/>
                  </a:solidFill>
                </a:rPr>
                <a:t> RRU</a:t>
              </a:r>
            </a:p>
          </p:txBody>
        </p:sp>
      </p:grpSp>
      <p:sp>
        <p:nvSpPr>
          <p:cNvPr id="185" name="TextBox 184">
            <a:extLst>
              <a:ext uri="{FF2B5EF4-FFF2-40B4-BE49-F238E27FC236}">
                <a16:creationId xmlns:a16="http://schemas.microsoft.com/office/drawing/2014/main" id="{861EB869-A6AD-F6F1-51EB-532E81E25E43}"/>
              </a:ext>
            </a:extLst>
          </p:cNvPr>
          <p:cNvSpPr txBox="1"/>
          <p:nvPr/>
        </p:nvSpPr>
        <p:spPr>
          <a:xfrm>
            <a:off x="4431449" y="1538798"/>
            <a:ext cx="3141039" cy="1569660"/>
          </a:xfrm>
          <a:prstGeom prst="rect">
            <a:avLst/>
          </a:prstGeom>
          <a:noFill/>
        </p:spPr>
        <p:txBody>
          <a:bodyPr wrap="square" rtlCol="0">
            <a:spAutoFit/>
          </a:bodyPr>
          <a:lstStyle/>
          <a:p>
            <a:r>
              <a:rPr lang="en-US" sz="1200" dirty="0"/>
              <a:t>Same approach to multiple vendors being able to interoperate with each other continues </a:t>
            </a:r>
          </a:p>
          <a:p>
            <a:r>
              <a:rPr lang="en-US" sz="1200" dirty="0"/>
              <a:t>In 5G to the open RAN approach. </a:t>
            </a:r>
          </a:p>
          <a:p>
            <a:r>
              <a:rPr lang="en-US" sz="1200" dirty="0"/>
              <a:t>DU and CU vendor do not have to be same and DU vendors should be </a:t>
            </a:r>
          </a:p>
          <a:p>
            <a:r>
              <a:rPr lang="en-US" sz="1200" dirty="0"/>
              <a:t>able to work with same RU vendors because of the open specified interfaces. </a:t>
            </a:r>
          </a:p>
        </p:txBody>
      </p:sp>
    </p:spTree>
    <p:extLst>
      <p:ext uri="{BB962C8B-B14F-4D97-AF65-F5344CB8AC3E}">
        <p14:creationId xmlns:p14="http://schemas.microsoft.com/office/powerpoint/2010/main" val="9620774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0AF978E-7B01-B1DF-0926-4881E820F26E}"/>
              </a:ext>
            </a:extLst>
          </p:cNvPr>
          <p:cNvSpPr>
            <a:spLocks noGrp="1"/>
          </p:cNvSpPr>
          <p:nvPr>
            <p:ph sz="quarter" idx="13"/>
          </p:nvPr>
        </p:nvSpPr>
        <p:spPr>
          <a:xfrm>
            <a:off x="3124230" y="1243623"/>
            <a:ext cx="4804251" cy="4469032"/>
          </a:xfrm>
        </p:spPr>
        <p:txBody>
          <a:bodyPr>
            <a:normAutofit/>
          </a:bodyPr>
          <a:lstStyle/>
          <a:p>
            <a:r>
              <a:rPr lang="en-US" b="1" dirty="0"/>
              <a:t>Phase 1</a:t>
            </a:r>
            <a:r>
              <a:rPr lang="en-US" dirty="0"/>
              <a:t>: Study and analysis of current scenario and identify, gather require equipment. </a:t>
            </a:r>
          </a:p>
          <a:p>
            <a:r>
              <a:rPr lang="en-US" b="1" dirty="0"/>
              <a:t>Phase 2 </a:t>
            </a:r>
            <a:r>
              <a:rPr lang="en-US" dirty="0"/>
              <a:t>: indoor test/small testbed Trial</a:t>
            </a:r>
          </a:p>
          <a:p>
            <a:r>
              <a:rPr lang="en-US" b="1" dirty="0"/>
              <a:t>Phase 3</a:t>
            </a:r>
            <a:r>
              <a:rPr lang="en-US" dirty="0"/>
              <a:t>: Deployment /rollout in small area and expend slowly.  </a:t>
            </a:r>
          </a:p>
        </p:txBody>
      </p:sp>
      <p:sp>
        <p:nvSpPr>
          <p:cNvPr id="4" name="Footer Placeholder 3">
            <a:extLst>
              <a:ext uri="{FF2B5EF4-FFF2-40B4-BE49-F238E27FC236}">
                <a16:creationId xmlns:a16="http://schemas.microsoft.com/office/drawing/2014/main" id="{928AF606-4BFE-9A4D-6E71-C7B67F254DC5}"/>
              </a:ext>
            </a:extLst>
          </p:cNvPr>
          <p:cNvSpPr>
            <a:spLocks noGrp="1"/>
          </p:cNvSpPr>
          <p:nvPr>
            <p:ph type="ftr" sz="quarter" idx="3"/>
          </p:nvPr>
        </p:nvSpPr>
        <p:spPr>
          <a:xfrm>
            <a:off x="305725" y="2518"/>
            <a:ext cx="11580552" cy="354853"/>
          </a:xfrm>
        </p:spPr>
        <p:txBody>
          <a:bodyPr anchor="b">
            <a:normAutofit/>
          </a:bodyPr>
          <a:lstStyle/>
          <a:p>
            <a:pPr>
              <a:spcAft>
                <a:spcPts val="600"/>
              </a:spcAft>
            </a:pPr>
            <a:r>
              <a:rPr lang="en-US" dirty="0"/>
              <a:t>Case Study</a:t>
            </a:r>
            <a:endParaRPr lang="en-US"/>
          </a:p>
        </p:txBody>
      </p:sp>
      <p:sp>
        <p:nvSpPr>
          <p:cNvPr id="2" name="Text Placeholder 1">
            <a:extLst>
              <a:ext uri="{FF2B5EF4-FFF2-40B4-BE49-F238E27FC236}">
                <a16:creationId xmlns:a16="http://schemas.microsoft.com/office/drawing/2014/main" id="{8CB672DE-DC69-7579-802C-246D7E863BB0}"/>
              </a:ext>
            </a:extLst>
          </p:cNvPr>
          <p:cNvSpPr>
            <a:spLocks noGrp="1"/>
          </p:cNvSpPr>
          <p:nvPr>
            <p:ph type="body" sz="quarter" idx="10"/>
          </p:nvPr>
        </p:nvSpPr>
        <p:spPr>
          <a:xfrm>
            <a:off x="304746" y="540582"/>
            <a:ext cx="11581530" cy="703041"/>
          </a:xfrm>
        </p:spPr>
        <p:txBody>
          <a:bodyPr>
            <a:normAutofit/>
          </a:bodyPr>
          <a:lstStyle/>
          <a:p>
            <a:pPr>
              <a:spcAft>
                <a:spcPts val="600"/>
              </a:spcAft>
            </a:pPr>
            <a:r>
              <a:rPr lang="en-US" dirty="0"/>
              <a:t>Project Plane</a:t>
            </a:r>
          </a:p>
        </p:txBody>
      </p:sp>
      <p:grpSp>
        <p:nvGrpSpPr>
          <p:cNvPr id="5" name="Group 4">
            <a:extLst>
              <a:ext uri="{FF2B5EF4-FFF2-40B4-BE49-F238E27FC236}">
                <a16:creationId xmlns:a16="http://schemas.microsoft.com/office/drawing/2014/main" id="{6E9E7396-727D-F740-2FA6-0EDBA44AC9C7}"/>
              </a:ext>
            </a:extLst>
          </p:cNvPr>
          <p:cNvGrpSpPr/>
          <p:nvPr/>
        </p:nvGrpSpPr>
        <p:grpSpPr>
          <a:xfrm>
            <a:off x="3124230" y="3070718"/>
            <a:ext cx="7728115" cy="1615140"/>
            <a:chOff x="3819959" y="1350827"/>
            <a:chExt cx="5569073" cy="1495791"/>
          </a:xfrm>
          <a:noFill/>
        </p:grpSpPr>
        <p:sp>
          <p:nvSpPr>
            <p:cNvPr id="6" name="TextBox 5">
              <a:extLst>
                <a:ext uri="{FF2B5EF4-FFF2-40B4-BE49-F238E27FC236}">
                  <a16:creationId xmlns:a16="http://schemas.microsoft.com/office/drawing/2014/main" id="{DE63F4EA-EDA2-CADB-1656-3541AC975A71}"/>
                </a:ext>
              </a:extLst>
            </p:cNvPr>
            <p:cNvSpPr txBox="1"/>
            <p:nvPr/>
          </p:nvSpPr>
          <p:spPr>
            <a:xfrm>
              <a:off x="7723421" y="1688982"/>
              <a:ext cx="1622658" cy="169277"/>
            </a:xfrm>
            <a:prstGeom prst="rect">
              <a:avLst/>
            </a:prstGeom>
            <a:grpFill/>
            <a:ln w="28575">
              <a:solidFill>
                <a:srgbClr val="7030A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a:spcAft>
                  <a:spcPts val="600"/>
                </a:spcAft>
              </a:pPr>
              <a:r>
                <a:rPr lang="de-DE" sz="1100" b="1" dirty="0"/>
                <a:t>1-3 Years</a:t>
              </a:r>
              <a:endParaRPr lang="en-US" sz="1100" b="1" dirty="0"/>
            </a:p>
          </p:txBody>
        </p:sp>
        <p:sp>
          <p:nvSpPr>
            <p:cNvPr id="7" name="TextBox 6">
              <a:extLst>
                <a:ext uri="{FF2B5EF4-FFF2-40B4-BE49-F238E27FC236}">
                  <a16:creationId xmlns:a16="http://schemas.microsoft.com/office/drawing/2014/main" id="{DED3B9F7-97EE-52CF-0C1E-2E7DA2736F2E}"/>
                </a:ext>
              </a:extLst>
            </p:cNvPr>
            <p:cNvSpPr txBox="1"/>
            <p:nvPr/>
          </p:nvSpPr>
          <p:spPr>
            <a:xfrm>
              <a:off x="5980334" y="2111416"/>
              <a:ext cx="1622658" cy="169277"/>
            </a:xfrm>
            <a:prstGeom prst="rect">
              <a:avLst/>
            </a:prstGeom>
            <a:grpFill/>
            <a:ln w="28575">
              <a:solidFill>
                <a:srgbClr val="7030A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a:spcAft>
                  <a:spcPts val="600"/>
                </a:spcAft>
              </a:pPr>
              <a:r>
                <a:rPr lang="de-DE" sz="1100" b="1" dirty="0"/>
                <a:t>2-3 Months</a:t>
              </a:r>
              <a:endParaRPr lang="en-US" sz="1100" b="1" dirty="0"/>
            </a:p>
          </p:txBody>
        </p:sp>
        <p:sp>
          <p:nvSpPr>
            <p:cNvPr id="8" name="TextBox 7">
              <a:extLst>
                <a:ext uri="{FF2B5EF4-FFF2-40B4-BE49-F238E27FC236}">
                  <a16:creationId xmlns:a16="http://schemas.microsoft.com/office/drawing/2014/main" id="{E0BA4EC6-8F72-5A9E-C12B-5CDA84331E79}"/>
                </a:ext>
              </a:extLst>
            </p:cNvPr>
            <p:cNvSpPr txBox="1"/>
            <p:nvPr/>
          </p:nvSpPr>
          <p:spPr>
            <a:xfrm>
              <a:off x="4237249" y="2533849"/>
              <a:ext cx="1622658" cy="169277"/>
            </a:xfrm>
            <a:prstGeom prst="rect">
              <a:avLst/>
            </a:prstGeom>
            <a:grpFill/>
            <a:ln w="28575">
              <a:solidFill>
                <a:srgbClr val="7030A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a:spcAft>
                  <a:spcPts val="600"/>
                </a:spcAft>
              </a:pPr>
              <a:r>
                <a:rPr lang="de-DE" sz="1100" b="1" dirty="0">
                  <a:ea typeface="+mn-ea"/>
                  <a:cs typeface="+mn-cs"/>
                </a:rPr>
                <a:t>5-6 weeks</a:t>
              </a:r>
              <a:endParaRPr lang="en-US" sz="1100" b="1" dirty="0">
                <a:ea typeface="+mn-ea"/>
                <a:cs typeface="+mn-cs"/>
              </a:endParaRPr>
            </a:p>
          </p:txBody>
        </p:sp>
        <p:grpSp>
          <p:nvGrpSpPr>
            <p:cNvPr id="9" name="Group 8">
              <a:extLst>
                <a:ext uri="{FF2B5EF4-FFF2-40B4-BE49-F238E27FC236}">
                  <a16:creationId xmlns:a16="http://schemas.microsoft.com/office/drawing/2014/main" id="{D8347F5F-2524-C958-0EAE-55ACD5EB7404}"/>
                </a:ext>
              </a:extLst>
            </p:cNvPr>
            <p:cNvGrpSpPr/>
            <p:nvPr/>
          </p:nvGrpSpPr>
          <p:grpSpPr>
            <a:xfrm>
              <a:off x="3819959" y="1574397"/>
              <a:ext cx="5569073" cy="1272221"/>
              <a:chOff x="3925028" y="2543493"/>
              <a:chExt cx="5569073" cy="1272221"/>
            </a:xfrm>
            <a:grpFill/>
          </p:grpSpPr>
          <p:sp>
            <p:nvSpPr>
              <p:cNvPr id="13" name="Freeform 5">
                <a:extLst>
                  <a:ext uri="{FF2B5EF4-FFF2-40B4-BE49-F238E27FC236}">
                    <a16:creationId xmlns:a16="http://schemas.microsoft.com/office/drawing/2014/main" id="{C4FA2779-AE9E-8E8D-2D3C-880A156973C7}"/>
                  </a:ext>
                </a:extLst>
              </p:cNvPr>
              <p:cNvSpPr>
                <a:spLocks/>
              </p:cNvSpPr>
              <p:nvPr/>
            </p:nvSpPr>
            <p:spPr bwMode="gray">
              <a:xfrm>
                <a:off x="7274325" y="2543493"/>
                <a:ext cx="490814" cy="427354"/>
              </a:xfrm>
              <a:custGeom>
                <a:avLst/>
                <a:gdLst>
                  <a:gd name="T0" fmla="*/ 434 w 435"/>
                  <a:gd name="T1" fmla="*/ 221 h 222"/>
                  <a:gd name="T2" fmla="*/ 434 w 435"/>
                  <a:gd name="T3" fmla="*/ 0 h 222"/>
                  <a:gd name="T4" fmla="*/ 0 w 435"/>
                  <a:gd name="T5" fmla="*/ 81 h 222"/>
                  <a:gd name="T6" fmla="*/ 0 w 435"/>
                  <a:gd name="T7" fmla="*/ 221 h 222"/>
                </a:gdLst>
                <a:ahLst/>
                <a:cxnLst>
                  <a:cxn ang="0">
                    <a:pos x="T0" y="T1"/>
                  </a:cxn>
                  <a:cxn ang="0">
                    <a:pos x="T2" y="T3"/>
                  </a:cxn>
                  <a:cxn ang="0">
                    <a:pos x="T4" y="T5"/>
                  </a:cxn>
                  <a:cxn ang="0">
                    <a:pos x="T6" y="T7"/>
                  </a:cxn>
                </a:cxnLst>
                <a:rect l="0" t="0" r="r" b="b"/>
                <a:pathLst>
                  <a:path w="435" h="222">
                    <a:moveTo>
                      <a:pt x="434" y="221"/>
                    </a:moveTo>
                    <a:lnTo>
                      <a:pt x="434" y="0"/>
                    </a:lnTo>
                    <a:lnTo>
                      <a:pt x="0" y="81"/>
                    </a:lnTo>
                    <a:lnTo>
                      <a:pt x="0" y="221"/>
                    </a:lnTo>
                  </a:path>
                </a:pathLst>
              </a:custGeom>
              <a:grpFill/>
              <a:ln w="28575">
                <a:solidFill>
                  <a:srgbClr val="7030A0"/>
                </a:solidFill>
              </a:ln>
              <a:effectLst/>
            </p:spPr>
            <p:txBody>
              <a:bodyPr>
                <a:noAutofit/>
              </a:bodyPr>
              <a:lstStyle/>
              <a:p>
                <a:endParaRPr lang="en-US"/>
              </a:p>
            </p:txBody>
          </p:sp>
          <p:sp>
            <p:nvSpPr>
              <p:cNvPr id="14" name="Freeform 5">
                <a:extLst>
                  <a:ext uri="{FF2B5EF4-FFF2-40B4-BE49-F238E27FC236}">
                    <a16:creationId xmlns:a16="http://schemas.microsoft.com/office/drawing/2014/main" id="{85051FCE-22A0-311E-99AC-E99473664F62}"/>
                  </a:ext>
                </a:extLst>
              </p:cNvPr>
              <p:cNvSpPr>
                <a:spLocks/>
              </p:cNvSpPr>
              <p:nvPr/>
            </p:nvSpPr>
            <p:spPr bwMode="gray">
              <a:xfrm>
                <a:off x="5526197" y="2965927"/>
                <a:ext cx="490814" cy="427354"/>
              </a:xfrm>
              <a:custGeom>
                <a:avLst/>
                <a:gdLst>
                  <a:gd name="T0" fmla="*/ 434 w 435"/>
                  <a:gd name="T1" fmla="*/ 221 h 222"/>
                  <a:gd name="T2" fmla="*/ 434 w 435"/>
                  <a:gd name="T3" fmla="*/ 0 h 222"/>
                  <a:gd name="T4" fmla="*/ 0 w 435"/>
                  <a:gd name="T5" fmla="*/ 81 h 222"/>
                  <a:gd name="T6" fmla="*/ 0 w 435"/>
                  <a:gd name="T7" fmla="*/ 221 h 222"/>
                </a:gdLst>
                <a:ahLst/>
                <a:cxnLst>
                  <a:cxn ang="0">
                    <a:pos x="T0" y="T1"/>
                  </a:cxn>
                  <a:cxn ang="0">
                    <a:pos x="T2" y="T3"/>
                  </a:cxn>
                  <a:cxn ang="0">
                    <a:pos x="T4" y="T5"/>
                  </a:cxn>
                  <a:cxn ang="0">
                    <a:pos x="T6" y="T7"/>
                  </a:cxn>
                </a:cxnLst>
                <a:rect l="0" t="0" r="r" b="b"/>
                <a:pathLst>
                  <a:path w="435" h="222">
                    <a:moveTo>
                      <a:pt x="434" y="221"/>
                    </a:moveTo>
                    <a:lnTo>
                      <a:pt x="434" y="0"/>
                    </a:lnTo>
                    <a:lnTo>
                      <a:pt x="0" y="81"/>
                    </a:lnTo>
                    <a:lnTo>
                      <a:pt x="0" y="221"/>
                    </a:lnTo>
                  </a:path>
                </a:pathLst>
              </a:custGeom>
              <a:grpFill/>
              <a:ln w="28575">
                <a:solidFill>
                  <a:srgbClr val="7030A0"/>
                </a:solidFill>
              </a:ln>
              <a:effectLst/>
            </p:spPr>
            <p:txBody>
              <a:bodyPr>
                <a:noAutofit/>
              </a:bodyPr>
              <a:lstStyle/>
              <a:p>
                <a:endParaRPr lang="en-US"/>
              </a:p>
            </p:txBody>
          </p:sp>
          <p:sp>
            <p:nvSpPr>
              <p:cNvPr id="15" name="Freeform 5">
                <a:extLst>
                  <a:ext uri="{FF2B5EF4-FFF2-40B4-BE49-F238E27FC236}">
                    <a16:creationId xmlns:a16="http://schemas.microsoft.com/office/drawing/2014/main" id="{5693F02D-E4C5-C6EE-E47F-2D0C09A79907}"/>
                  </a:ext>
                </a:extLst>
              </p:cNvPr>
              <p:cNvSpPr>
                <a:spLocks/>
              </p:cNvSpPr>
              <p:nvPr/>
            </p:nvSpPr>
            <p:spPr bwMode="gray">
              <a:xfrm>
                <a:off x="3925028" y="3388360"/>
                <a:ext cx="334773" cy="427354"/>
              </a:xfrm>
              <a:custGeom>
                <a:avLst/>
                <a:gdLst>
                  <a:gd name="T0" fmla="*/ 434 w 435"/>
                  <a:gd name="T1" fmla="*/ 221 h 222"/>
                  <a:gd name="T2" fmla="*/ 434 w 435"/>
                  <a:gd name="T3" fmla="*/ 0 h 222"/>
                  <a:gd name="T4" fmla="*/ 0 w 435"/>
                  <a:gd name="T5" fmla="*/ 81 h 222"/>
                  <a:gd name="T6" fmla="*/ 0 w 435"/>
                  <a:gd name="T7" fmla="*/ 221 h 222"/>
                </a:gdLst>
                <a:ahLst/>
                <a:cxnLst>
                  <a:cxn ang="0">
                    <a:pos x="T0" y="T1"/>
                  </a:cxn>
                  <a:cxn ang="0">
                    <a:pos x="T2" y="T3"/>
                  </a:cxn>
                  <a:cxn ang="0">
                    <a:pos x="T4" y="T5"/>
                  </a:cxn>
                  <a:cxn ang="0">
                    <a:pos x="T6" y="T7"/>
                  </a:cxn>
                </a:cxnLst>
                <a:rect l="0" t="0" r="r" b="b"/>
                <a:pathLst>
                  <a:path w="435" h="222">
                    <a:moveTo>
                      <a:pt x="434" y="221"/>
                    </a:moveTo>
                    <a:lnTo>
                      <a:pt x="434" y="0"/>
                    </a:lnTo>
                    <a:lnTo>
                      <a:pt x="0" y="81"/>
                    </a:lnTo>
                    <a:lnTo>
                      <a:pt x="0" y="221"/>
                    </a:lnTo>
                  </a:path>
                </a:pathLst>
              </a:custGeom>
              <a:grpFill/>
              <a:ln w="28575">
                <a:solidFill>
                  <a:srgbClr val="7030A0"/>
                </a:solidFill>
              </a:ln>
              <a:effectLst/>
            </p:spPr>
            <p:txBody>
              <a:bodyPr>
                <a:noAutofit/>
              </a:bodyPr>
              <a:lstStyle/>
              <a:p>
                <a:endParaRPr lang="en-US"/>
              </a:p>
            </p:txBody>
          </p:sp>
          <p:sp>
            <p:nvSpPr>
              <p:cNvPr id="16" name="Freeform 49">
                <a:extLst>
                  <a:ext uri="{FF2B5EF4-FFF2-40B4-BE49-F238E27FC236}">
                    <a16:creationId xmlns:a16="http://schemas.microsoft.com/office/drawing/2014/main" id="{298AD7E6-8832-26B0-0E7A-F4A109B0179B}"/>
                  </a:ext>
                </a:extLst>
              </p:cNvPr>
              <p:cNvSpPr>
                <a:spLocks/>
              </p:cNvSpPr>
              <p:nvPr/>
            </p:nvSpPr>
            <p:spPr>
              <a:xfrm>
                <a:off x="7755055" y="2548413"/>
                <a:ext cx="1739046" cy="422434"/>
              </a:xfrm>
              <a:custGeom>
                <a:avLst/>
                <a:gdLst>
                  <a:gd name="connsiteX0" fmla="*/ 0 w 1752600"/>
                  <a:gd name="connsiteY0" fmla="*/ 571500 h 571500"/>
                  <a:gd name="connsiteX1" fmla="*/ 0 w 1752600"/>
                  <a:gd name="connsiteY1" fmla="*/ 0 h 571500"/>
                  <a:gd name="connsiteX2" fmla="*/ 1752600 w 1752600"/>
                  <a:gd name="connsiteY2" fmla="*/ 0 h 571500"/>
                </a:gdLst>
                <a:ahLst/>
                <a:cxnLst>
                  <a:cxn ang="0">
                    <a:pos x="connsiteX0" y="connsiteY0"/>
                  </a:cxn>
                  <a:cxn ang="0">
                    <a:pos x="connsiteX1" y="connsiteY1"/>
                  </a:cxn>
                  <a:cxn ang="0">
                    <a:pos x="connsiteX2" y="connsiteY2"/>
                  </a:cxn>
                </a:cxnLst>
                <a:rect l="l" t="t" r="r" b="b"/>
                <a:pathLst>
                  <a:path w="1752600" h="571500">
                    <a:moveTo>
                      <a:pt x="0" y="571500"/>
                    </a:moveTo>
                    <a:lnTo>
                      <a:pt x="0" y="0"/>
                    </a:lnTo>
                    <a:lnTo>
                      <a:pt x="1752600" y="0"/>
                    </a:lnTo>
                  </a:path>
                </a:pathLst>
              </a:custGeom>
              <a:grpFill/>
              <a:ln w="28575" cap="rnd" cmpd="sng">
                <a:solidFill>
                  <a:srgbClr val="7030A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chemeClr val="tx1"/>
                  </a:solidFill>
                  <a:latin typeface="Arial" charset="0"/>
                </a:endParaRPr>
              </a:p>
            </p:txBody>
          </p:sp>
          <p:sp>
            <p:nvSpPr>
              <p:cNvPr id="17" name="Freeform 50">
                <a:extLst>
                  <a:ext uri="{FF2B5EF4-FFF2-40B4-BE49-F238E27FC236}">
                    <a16:creationId xmlns:a16="http://schemas.microsoft.com/office/drawing/2014/main" id="{D2F2393F-2735-BABD-452D-399020DD9762}"/>
                  </a:ext>
                </a:extLst>
              </p:cNvPr>
              <p:cNvSpPr>
                <a:spLocks/>
              </p:cNvSpPr>
              <p:nvPr/>
            </p:nvSpPr>
            <p:spPr>
              <a:xfrm>
                <a:off x="6011969" y="2970847"/>
                <a:ext cx="1739046" cy="422434"/>
              </a:xfrm>
              <a:custGeom>
                <a:avLst/>
                <a:gdLst>
                  <a:gd name="connsiteX0" fmla="*/ 0 w 1752600"/>
                  <a:gd name="connsiteY0" fmla="*/ 571500 h 571500"/>
                  <a:gd name="connsiteX1" fmla="*/ 0 w 1752600"/>
                  <a:gd name="connsiteY1" fmla="*/ 0 h 571500"/>
                  <a:gd name="connsiteX2" fmla="*/ 1752600 w 1752600"/>
                  <a:gd name="connsiteY2" fmla="*/ 0 h 571500"/>
                </a:gdLst>
                <a:ahLst/>
                <a:cxnLst>
                  <a:cxn ang="0">
                    <a:pos x="connsiteX0" y="connsiteY0"/>
                  </a:cxn>
                  <a:cxn ang="0">
                    <a:pos x="connsiteX1" y="connsiteY1"/>
                  </a:cxn>
                  <a:cxn ang="0">
                    <a:pos x="connsiteX2" y="connsiteY2"/>
                  </a:cxn>
                </a:cxnLst>
                <a:rect l="l" t="t" r="r" b="b"/>
                <a:pathLst>
                  <a:path w="1752600" h="571500">
                    <a:moveTo>
                      <a:pt x="0" y="571500"/>
                    </a:moveTo>
                    <a:lnTo>
                      <a:pt x="0" y="0"/>
                    </a:lnTo>
                    <a:lnTo>
                      <a:pt x="1752600" y="0"/>
                    </a:lnTo>
                  </a:path>
                </a:pathLst>
              </a:custGeom>
              <a:grpFill/>
              <a:ln w="28575" cap="rnd" cmpd="sng">
                <a:solidFill>
                  <a:srgbClr val="7030A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chemeClr val="tx1"/>
                  </a:solidFill>
                  <a:latin typeface="Arial" charset="0"/>
                </a:endParaRPr>
              </a:p>
            </p:txBody>
          </p:sp>
          <p:sp>
            <p:nvSpPr>
              <p:cNvPr id="18" name="Freeform 51">
                <a:extLst>
                  <a:ext uri="{FF2B5EF4-FFF2-40B4-BE49-F238E27FC236}">
                    <a16:creationId xmlns:a16="http://schemas.microsoft.com/office/drawing/2014/main" id="{16CE3782-8A89-0681-39F9-5F0E660EAB33}"/>
                  </a:ext>
                </a:extLst>
              </p:cNvPr>
              <p:cNvSpPr>
                <a:spLocks/>
              </p:cNvSpPr>
              <p:nvPr/>
            </p:nvSpPr>
            <p:spPr>
              <a:xfrm>
                <a:off x="4268883" y="3393280"/>
                <a:ext cx="1739046" cy="422434"/>
              </a:xfrm>
              <a:custGeom>
                <a:avLst/>
                <a:gdLst>
                  <a:gd name="connsiteX0" fmla="*/ 0 w 1752600"/>
                  <a:gd name="connsiteY0" fmla="*/ 571500 h 571500"/>
                  <a:gd name="connsiteX1" fmla="*/ 0 w 1752600"/>
                  <a:gd name="connsiteY1" fmla="*/ 0 h 571500"/>
                  <a:gd name="connsiteX2" fmla="*/ 1752600 w 1752600"/>
                  <a:gd name="connsiteY2" fmla="*/ 0 h 571500"/>
                </a:gdLst>
                <a:ahLst/>
                <a:cxnLst>
                  <a:cxn ang="0">
                    <a:pos x="connsiteX0" y="connsiteY0"/>
                  </a:cxn>
                  <a:cxn ang="0">
                    <a:pos x="connsiteX1" y="connsiteY1"/>
                  </a:cxn>
                  <a:cxn ang="0">
                    <a:pos x="connsiteX2" y="connsiteY2"/>
                  </a:cxn>
                </a:cxnLst>
                <a:rect l="l" t="t" r="r" b="b"/>
                <a:pathLst>
                  <a:path w="1752600" h="571500">
                    <a:moveTo>
                      <a:pt x="0" y="571500"/>
                    </a:moveTo>
                    <a:lnTo>
                      <a:pt x="0" y="0"/>
                    </a:lnTo>
                    <a:lnTo>
                      <a:pt x="1752600" y="0"/>
                    </a:lnTo>
                  </a:path>
                </a:pathLst>
              </a:custGeom>
              <a:grpFill/>
              <a:ln w="28575" cap="rnd" cmpd="sng">
                <a:solidFill>
                  <a:srgbClr val="7030A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chemeClr val="tx1"/>
                  </a:solidFill>
                  <a:latin typeface="Arial" charset="0"/>
                </a:endParaRPr>
              </a:p>
            </p:txBody>
          </p:sp>
        </p:grpSp>
        <p:sp>
          <p:nvSpPr>
            <p:cNvPr id="10" name="TextBox 9">
              <a:extLst>
                <a:ext uri="{FF2B5EF4-FFF2-40B4-BE49-F238E27FC236}">
                  <a16:creationId xmlns:a16="http://schemas.microsoft.com/office/drawing/2014/main" id="{90CFAF0F-0BE7-77F9-2CE6-7B32E076BC80}"/>
                </a:ext>
              </a:extLst>
            </p:cNvPr>
            <p:cNvSpPr txBox="1"/>
            <p:nvPr/>
          </p:nvSpPr>
          <p:spPr>
            <a:xfrm>
              <a:off x="7723421" y="1350827"/>
              <a:ext cx="1622658" cy="156768"/>
            </a:xfrm>
            <a:prstGeom prst="rect">
              <a:avLst/>
            </a:prstGeom>
            <a:grpFill/>
            <a:ln w="28575">
              <a:solidFill>
                <a:srgbClr val="7030A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a:spcAft>
                  <a:spcPts val="600"/>
                </a:spcAft>
              </a:pPr>
              <a:r>
                <a:rPr lang="de-DE" sz="1100" b="1" dirty="0">
                  <a:solidFill>
                    <a:schemeClr val="accent6">
                      <a:lumMod val="60000"/>
                      <a:lumOff val="40000"/>
                    </a:schemeClr>
                  </a:solidFill>
                </a:rPr>
                <a:t>Phase 3</a:t>
              </a:r>
              <a:endParaRPr lang="en-US" sz="1100" b="1" dirty="0">
                <a:solidFill>
                  <a:schemeClr val="accent6">
                    <a:lumMod val="60000"/>
                    <a:lumOff val="40000"/>
                  </a:schemeClr>
                </a:solidFill>
              </a:endParaRPr>
            </a:p>
          </p:txBody>
        </p:sp>
        <p:sp>
          <p:nvSpPr>
            <p:cNvPr id="11" name="TextBox 10">
              <a:extLst>
                <a:ext uri="{FF2B5EF4-FFF2-40B4-BE49-F238E27FC236}">
                  <a16:creationId xmlns:a16="http://schemas.microsoft.com/office/drawing/2014/main" id="{A6879EE3-34D8-6ED4-920B-CD15933E84C0}"/>
                </a:ext>
              </a:extLst>
            </p:cNvPr>
            <p:cNvSpPr txBox="1"/>
            <p:nvPr/>
          </p:nvSpPr>
          <p:spPr>
            <a:xfrm>
              <a:off x="5980334" y="1773261"/>
              <a:ext cx="1622658" cy="169277"/>
            </a:xfrm>
            <a:prstGeom prst="rect">
              <a:avLst/>
            </a:prstGeom>
            <a:grpFill/>
            <a:ln w="28575">
              <a:solidFill>
                <a:srgbClr val="7030A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a:spcAft>
                  <a:spcPts val="600"/>
                </a:spcAft>
              </a:pPr>
              <a:r>
                <a:rPr lang="de-DE" sz="1100" b="1" dirty="0">
                  <a:solidFill>
                    <a:schemeClr val="accent5"/>
                  </a:solidFill>
                </a:rPr>
                <a:t>Phase 2</a:t>
              </a:r>
              <a:endParaRPr lang="en-US" sz="1100" b="1" dirty="0">
                <a:solidFill>
                  <a:schemeClr val="accent5"/>
                </a:solidFill>
              </a:endParaRPr>
            </a:p>
          </p:txBody>
        </p:sp>
        <p:sp>
          <p:nvSpPr>
            <p:cNvPr id="12" name="TextBox 11">
              <a:extLst>
                <a:ext uri="{FF2B5EF4-FFF2-40B4-BE49-F238E27FC236}">
                  <a16:creationId xmlns:a16="http://schemas.microsoft.com/office/drawing/2014/main" id="{DBF0B4C9-5D37-F520-830E-17AC605C3755}"/>
                </a:ext>
              </a:extLst>
            </p:cNvPr>
            <p:cNvSpPr txBox="1">
              <a:spLocks/>
            </p:cNvSpPr>
            <p:nvPr/>
          </p:nvSpPr>
          <p:spPr>
            <a:xfrm>
              <a:off x="4237249" y="2195694"/>
              <a:ext cx="1622658" cy="169277"/>
            </a:xfrm>
            <a:prstGeom prst="rect">
              <a:avLst/>
            </a:prstGeom>
            <a:grpFill/>
            <a:ln w="28575">
              <a:solidFill>
                <a:srgbClr val="7030A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a:spcAft>
                  <a:spcPts val="600"/>
                </a:spcAft>
              </a:pPr>
              <a:r>
                <a:rPr lang="de-DE" sz="1100" b="1" dirty="0">
                  <a:solidFill>
                    <a:schemeClr val="accent5"/>
                  </a:solidFill>
                </a:rPr>
                <a:t>Phase 1</a:t>
              </a:r>
              <a:endParaRPr lang="en-US" sz="1100" b="1" dirty="0">
                <a:solidFill>
                  <a:schemeClr val="accent5"/>
                </a:solidFill>
              </a:endParaRPr>
            </a:p>
          </p:txBody>
        </p:sp>
      </p:grpSp>
      <p:grpSp>
        <p:nvGrpSpPr>
          <p:cNvPr id="26" name="Group 25">
            <a:extLst>
              <a:ext uri="{FF2B5EF4-FFF2-40B4-BE49-F238E27FC236}">
                <a16:creationId xmlns:a16="http://schemas.microsoft.com/office/drawing/2014/main" id="{C074E13D-FC8D-5CDC-5B39-C26AD871B60C}"/>
              </a:ext>
            </a:extLst>
          </p:cNvPr>
          <p:cNvGrpSpPr/>
          <p:nvPr/>
        </p:nvGrpSpPr>
        <p:grpSpPr>
          <a:xfrm>
            <a:off x="1340530" y="869941"/>
            <a:ext cx="1540404" cy="3072001"/>
            <a:chOff x="731467" y="1243624"/>
            <a:chExt cx="2194613" cy="4799036"/>
          </a:xfrm>
          <a:solidFill>
            <a:schemeClr val="accent5"/>
          </a:solidFill>
        </p:grpSpPr>
        <p:sp>
          <p:nvSpPr>
            <p:cNvPr id="27" name="Freeform 25">
              <a:extLst>
                <a:ext uri="{FF2B5EF4-FFF2-40B4-BE49-F238E27FC236}">
                  <a16:creationId xmlns:a16="http://schemas.microsoft.com/office/drawing/2014/main" id="{C8511AD0-0E46-8BDF-5741-6A51B0100635}"/>
                </a:ext>
              </a:extLst>
            </p:cNvPr>
            <p:cNvSpPr>
              <a:spLocks/>
            </p:cNvSpPr>
            <p:nvPr/>
          </p:nvSpPr>
          <p:spPr bwMode="auto">
            <a:xfrm flipH="1">
              <a:off x="731467" y="2770142"/>
              <a:ext cx="2194613" cy="1746000"/>
            </a:xfrm>
            <a:custGeom>
              <a:avLst/>
              <a:gdLst>
                <a:gd name="connsiteX0" fmla="*/ 2194613 w 2194613"/>
                <a:gd name="connsiteY0" fmla="*/ 0 h 1825992"/>
                <a:gd name="connsiteX1" fmla="*/ 1879629 w 2194613"/>
                <a:gd name="connsiteY1" fmla="*/ 358115 h 1825992"/>
                <a:gd name="connsiteX2" fmla="*/ 1561222 w 2194613"/>
                <a:gd name="connsiteY2" fmla="*/ 0 h 1825992"/>
                <a:gd name="connsiteX3" fmla="*/ 1561222 w 2194613"/>
                <a:gd name="connsiteY3" fmla="*/ 348898 h 1825992"/>
                <a:gd name="connsiteX4" fmla="*/ 1561222 w 2194613"/>
                <a:gd name="connsiteY4" fmla="*/ 348898 h 1825992"/>
                <a:gd name="connsiteX5" fmla="*/ 1561222 w 2194613"/>
                <a:gd name="connsiteY5" fmla="*/ 617962 h 1825992"/>
                <a:gd name="connsiteX6" fmla="*/ 54780 w 2194613"/>
                <a:gd name="connsiteY6" fmla="*/ 617962 h 1825992"/>
                <a:gd name="connsiteX7" fmla="*/ 44509 w 2194613"/>
                <a:gd name="connsiteY7" fmla="*/ 619568 h 1825992"/>
                <a:gd name="connsiteX8" fmla="*/ 34237 w 2194613"/>
                <a:gd name="connsiteY8" fmla="*/ 624386 h 1825992"/>
                <a:gd name="connsiteX9" fmla="*/ 25108 w 2194613"/>
                <a:gd name="connsiteY9" fmla="*/ 630809 h 1825992"/>
                <a:gd name="connsiteX10" fmla="*/ 15978 w 2194613"/>
                <a:gd name="connsiteY10" fmla="*/ 640445 h 1825992"/>
                <a:gd name="connsiteX11" fmla="*/ 10271 w 2194613"/>
                <a:gd name="connsiteY11" fmla="*/ 651686 h 1825992"/>
                <a:gd name="connsiteX12" fmla="*/ 4565 w 2194613"/>
                <a:gd name="connsiteY12" fmla="*/ 664533 h 1825992"/>
                <a:gd name="connsiteX13" fmla="*/ 1141 w 2194613"/>
                <a:gd name="connsiteY13" fmla="*/ 678986 h 1825992"/>
                <a:gd name="connsiteX14" fmla="*/ 0 w 2194613"/>
                <a:gd name="connsiteY14" fmla="*/ 695045 h 1825992"/>
                <a:gd name="connsiteX15" fmla="*/ 0 w 2194613"/>
                <a:gd name="connsiteY15" fmla="*/ 892966 h 1825992"/>
                <a:gd name="connsiteX16" fmla="*/ 0 w 2194613"/>
                <a:gd name="connsiteY16" fmla="*/ 1104549 h 1825992"/>
                <a:gd name="connsiteX17" fmla="*/ 0 w 2194613"/>
                <a:gd name="connsiteY17" fmla="*/ 1194479 h 1825992"/>
                <a:gd name="connsiteX18" fmla="*/ 0 w 2194613"/>
                <a:gd name="connsiteY18" fmla="*/ 1274774 h 1825992"/>
                <a:gd name="connsiteX19" fmla="*/ 0 w 2194613"/>
                <a:gd name="connsiteY19" fmla="*/ 1302470 h 1825992"/>
                <a:gd name="connsiteX20" fmla="*/ 0 w 2194613"/>
                <a:gd name="connsiteY20" fmla="*/ 1392400 h 1825992"/>
                <a:gd name="connsiteX21" fmla="*/ 0 w 2194613"/>
                <a:gd name="connsiteY21" fmla="*/ 1472695 h 1825992"/>
                <a:gd name="connsiteX22" fmla="*/ 318407 w 2194613"/>
                <a:gd name="connsiteY22" fmla="*/ 1825992 h 1825992"/>
                <a:gd name="connsiteX23" fmla="*/ 627081 w 2194613"/>
                <a:gd name="connsiteY23" fmla="*/ 1474075 h 1825992"/>
                <a:gd name="connsiteX24" fmla="*/ 627081 w 2194613"/>
                <a:gd name="connsiteY24" fmla="*/ 1276154 h 1825992"/>
                <a:gd name="connsiteX25" fmla="*/ 631108 w 2194613"/>
                <a:gd name="connsiteY25" fmla="*/ 1271562 h 1825992"/>
                <a:gd name="connsiteX26" fmla="*/ 2139833 w 2194613"/>
                <a:gd name="connsiteY26" fmla="*/ 1271562 h 1825992"/>
                <a:gd name="connsiteX27" fmla="*/ 2151246 w 2194613"/>
                <a:gd name="connsiteY27" fmla="*/ 1269956 h 1825992"/>
                <a:gd name="connsiteX28" fmla="*/ 2161517 w 2194613"/>
                <a:gd name="connsiteY28" fmla="*/ 1265139 h 1825992"/>
                <a:gd name="connsiteX29" fmla="*/ 2170647 w 2194613"/>
                <a:gd name="connsiteY29" fmla="*/ 1258715 h 1825992"/>
                <a:gd name="connsiteX30" fmla="*/ 2178635 w 2194613"/>
                <a:gd name="connsiteY30" fmla="*/ 1249080 h 1825992"/>
                <a:gd name="connsiteX31" fmla="*/ 2185483 w 2194613"/>
                <a:gd name="connsiteY31" fmla="*/ 1237838 h 1825992"/>
                <a:gd name="connsiteX32" fmla="*/ 2190048 w 2194613"/>
                <a:gd name="connsiteY32" fmla="*/ 1223385 h 1825992"/>
                <a:gd name="connsiteX33" fmla="*/ 2193472 w 2194613"/>
                <a:gd name="connsiteY33" fmla="*/ 1208932 h 1825992"/>
                <a:gd name="connsiteX34" fmla="*/ 2194613 w 2194613"/>
                <a:gd name="connsiteY34" fmla="*/ 1194479 h 1825992"/>
                <a:gd name="connsiteX35" fmla="*/ 2194613 w 2194613"/>
                <a:gd name="connsiteY35" fmla="*/ 807458 h 1825992"/>
                <a:gd name="connsiteX36" fmla="*/ 2194613 w 2194613"/>
                <a:gd name="connsiteY36" fmla="*/ 725557 h 1825992"/>
                <a:gd name="connsiteX37" fmla="*/ 2194613 w 2194613"/>
                <a:gd name="connsiteY37" fmla="*/ 695045 h 1825992"/>
                <a:gd name="connsiteX38" fmla="*/ 2194613 w 2194613"/>
                <a:gd name="connsiteY38" fmla="*/ 373644 h 1825992"/>
                <a:gd name="connsiteX39" fmla="*/ 2194613 w 2194613"/>
                <a:gd name="connsiteY39" fmla="*/ 373644 h 1825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194613" h="1825992">
                  <a:moveTo>
                    <a:pt x="2194613" y="0"/>
                  </a:moveTo>
                  <a:lnTo>
                    <a:pt x="1879629" y="358115"/>
                  </a:lnTo>
                  <a:lnTo>
                    <a:pt x="1561222" y="0"/>
                  </a:lnTo>
                  <a:lnTo>
                    <a:pt x="1561222" y="348898"/>
                  </a:lnTo>
                  <a:lnTo>
                    <a:pt x="1561222" y="348898"/>
                  </a:lnTo>
                  <a:lnTo>
                    <a:pt x="1561222" y="617962"/>
                  </a:lnTo>
                  <a:lnTo>
                    <a:pt x="54780" y="617962"/>
                  </a:lnTo>
                  <a:lnTo>
                    <a:pt x="44509" y="619568"/>
                  </a:lnTo>
                  <a:lnTo>
                    <a:pt x="34237" y="624386"/>
                  </a:lnTo>
                  <a:lnTo>
                    <a:pt x="25108" y="630809"/>
                  </a:lnTo>
                  <a:lnTo>
                    <a:pt x="15978" y="640445"/>
                  </a:lnTo>
                  <a:lnTo>
                    <a:pt x="10271" y="651686"/>
                  </a:lnTo>
                  <a:lnTo>
                    <a:pt x="4565" y="664533"/>
                  </a:lnTo>
                  <a:lnTo>
                    <a:pt x="1141" y="678986"/>
                  </a:lnTo>
                  <a:lnTo>
                    <a:pt x="0" y="695045"/>
                  </a:lnTo>
                  <a:lnTo>
                    <a:pt x="0" y="892966"/>
                  </a:lnTo>
                  <a:lnTo>
                    <a:pt x="0" y="1104549"/>
                  </a:lnTo>
                  <a:lnTo>
                    <a:pt x="0" y="1194479"/>
                  </a:lnTo>
                  <a:lnTo>
                    <a:pt x="0" y="1274774"/>
                  </a:lnTo>
                  <a:lnTo>
                    <a:pt x="0" y="1302470"/>
                  </a:lnTo>
                  <a:lnTo>
                    <a:pt x="0" y="1392400"/>
                  </a:lnTo>
                  <a:lnTo>
                    <a:pt x="0" y="1472695"/>
                  </a:lnTo>
                  <a:lnTo>
                    <a:pt x="318407" y="1825992"/>
                  </a:lnTo>
                  <a:lnTo>
                    <a:pt x="627081" y="1474075"/>
                  </a:lnTo>
                  <a:lnTo>
                    <a:pt x="627081" y="1276154"/>
                  </a:lnTo>
                  <a:lnTo>
                    <a:pt x="631108" y="1271562"/>
                  </a:lnTo>
                  <a:lnTo>
                    <a:pt x="2139833" y="1271562"/>
                  </a:lnTo>
                  <a:lnTo>
                    <a:pt x="2151246" y="1269956"/>
                  </a:lnTo>
                  <a:lnTo>
                    <a:pt x="2161517" y="1265139"/>
                  </a:lnTo>
                  <a:lnTo>
                    <a:pt x="2170647" y="1258715"/>
                  </a:lnTo>
                  <a:lnTo>
                    <a:pt x="2178635" y="1249080"/>
                  </a:lnTo>
                  <a:lnTo>
                    <a:pt x="2185483" y="1237838"/>
                  </a:lnTo>
                  <a:lnTo>
                    <a:pt x="2190048" y="1223385"/>
                  </a:lnTo>
                  <a:lnTo>
                    <a:pt x="2193472" y="1208932"/>
                  </a:lnTo>
                  <a:lnTo>
                    <a:pt x="2194613" y="1194479"/>
                  </a:lnTo>
                  <a:lnTo>
                    <a:pt x="2194613" y="807458"/>
                  </a:lnTo>
                  <a:lnTo>
                    <a:pt x="2194613" y="725557"/>
                  </a:lnTo>
                  <a:lnTo>
                    <a:pt x="2194613" y="695045"/>
                  </a:lnTo>
                  <a:lnTo>
                    <a:pt x="2194613" y="373644"/>
                  </a:lnTo>
                  <a:lnTo>
                    <a:pt x="2194613" y="373644"/>
                  </a:lnTo>
                  <a:close/>
                </a:path>
              </a:pathLst>
            </a:custGeom>
            <a:grpFill/>
            <a:ln w="1270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67274" eaLnBrk="1" fontAlgn="auto" latinLnBrk="0" hangingPunct="1">
                <a:lnSpc>
                  <a:spcPct val="100000"/>
                </a:lnSpc>
                <a:spcBef>
                  <a:spcPts val="0"/>
                </a:spcBef>
                <a:spcAft>
                  <a:spcPts val="0"/>
                </a:spcAft>
                <a:buClrTx/>
                <a:buSzTx/>
                <a:buFontTx/>
                <a:buNone/>
                <a:tabLst/>
                <a:defRPr/>
              </a:pPr>
              <a:endParaRPr kumimoji="0" lang="en-GB" sz="1904" b="0" i="0" u="none" strike="noStrike" kern="0" cap="none" spc="0" normalizeH="0" baseline="0" noProof="0">
                <a:ln>
                  <a:noFill/>
                </a:ln>
                <a:solidFill>
                  <a:srgbClr val="4D4D4D"/>
                </a:solidFill>
                <a:effectLst/>
                <a:uLnTx/>
                <a:uFillTx/>
              </a:endParaRPr>
            </a:p>
          </p:txBody>
        </p:sp>
        <p:sp>
          <p:nvSpPr>
            <p:cNvPr id="28" name="Freeform 26">
              <a:extLst>
                <a:ext uri="{FF2B5EF4-FFF2-40B4-BE49-F238E27FC236}">
                  <a16:creationId xmlns:a16="http://schemas.microsoft.com/office/drawing/2014/main" id="{0D09A4B4-5A44-1C50-DC17-EB2E598B38E4}"/>
                </a:ext>
              </a:extLst>
            </p:cNvPr>
            <p:cNvSpPr>
              <a:spLocks/>
            </p:cNvSpPr>
            <p:nvPr/>
          </p:nvSpPr>
          <p:spPr bwMode="auto">
            <a:xfrm>
              <a:off x="731467" y="1243624"/>
              <a:ext cx="2194613" cy="1746000"/>
            </a:xfrm>
            <a:custGeom>
              <a:avLst/>
              <a:gdLst>
                <a:gd name="connsiteX0" fmla="*/ 2194613 w 2194613"/>
                <a:gd name="connsiteY0" fmla="*/ 0 h 1825992"/>
                <a:gd name="connsiteX1" fmla="*/ 1879629 w 2194613"/>
                <a:gd name="connsiteY1" fmla="*/ 358115 h 1825992"/>
                <a:gd name="connsiteX2" fmla="*/ 1561222 w 2194613"/>
                <a:gd name="connsiteY2" fmla="*/ 0 h 1825992"/>
                <a:gd name="connsiteX3" fmla="*/ 1561222 w 2194613"/>
                <a:gd name="connsiteY3" fmla="*/ 348898 h 1825992"/>
                <a:gd name="connsiteX4" fmla="*/ 1561222 w 2194613"/>
                <a:gd name="connsiteY4" fmla="*/ 348898 h 1825992"/>
                <a:gd name="connsiteX5" fmla="*/ 1561222 w 2194613"/>
                <a:gd name="connsiteY5" fmla="*/ 617962 h 1825992"/>
                <a:gd name="connsiteX6" fmla="*/ 54780 w 2194613"/>
                <a:gd name="connsiteY6" fmla="*/ 617962 h 1825992"/>
                <a:gd name="connsiteX7" fmla="*/ 44509 w 2194613"/>
                <a:gd name="connsiteY7" fmla="*/ 619568 h 1825992"/>
                <a:gd name="connsiteX8" fmla="*/ 34237 w 2194613"/>
                <a:gd name="connsiteY8" fmla="*/ 624386 h 1825992"/>
                <a:gd name="connsiteX9" fmla="*/ 25108 w 2194613"/>
                <a:gd name="connsiteY9" fmla="*/ 630809 h 1825992"/>
                <a:gd name="connsiteX10" fmla="*/ 15978 w 2194613"/>
                <a:gd name="connsiteY10" fmla="*/ 640445 h 1825992"/>
                <a:gd name="connsiteX11" fmla="*/ 10271 w 2194613"/>
                <a:gd name="connsiteY11" fmla="*/ 651686 h 1825992"/>
                <a:gd name="connsiteX12" fmla="*/ 4565 w 2194613"/>
                <a:gd name="connsiteY12" fmla="*/ 664533 h 1825992"/>
                <a:gd name="connsiteX13" fmla="*/ 1141 w 2194613"/>
                <a:gd name="connsiteY13" fmla="*/ 678986 h 1825992"/>
                <a:gd name="connsiteX14" fmla="*/ 0 w 2194613"/>
                <a:gd name="connsiteY14" fmla="*/ 695045 h 1825992"/>
                <a:gd name="connsiteX15" fmla="*/ 0 w 2194613"/>
                <a:gd name="connsiteY15" fmla="*/ 892966 h 1825992"/>
                <a:gd name="connsiteX16" fmla="*/ 0 w 2194613"/>
                <a:gd name="connsiteY16" fmla="*/ 1104549 h 1825992"/>
                <a:gd name="connsiteX17" fmla="*/ 0 w 2194613"/>
                <a:gd name="connsiteY17" fmla="*/ 1194479 h 1825992"/>
                <a:gd name="connsiteX18" fmla="*/ 0 w 2194613"/>
                <a:gd name="connsiteY18" fmla="*/ 1274774 h 1825992"/>
                <a:gd name="connsiteX19" fmla="*/ 0 w 2194613"/>
                <a:gd name="connsiteY19" fmla="*/ 1302470 h 1825992"/>
                <a:gd name="connsiteX20" fmla="*/ 0 w 2194613"/>
                <a:gd name="connsiteY20" fmla="*/ 1392400 h 1825992"/>
                <a:gd name="connsiteX21" fmla="*/ 0 w 2194613"/>
                <a:gd name="connsiteY21" fmla="*/ 1472695 h 1825992"/>
                <a:gd name="connsiteX22" fmla="*/ 318407 w 2194613"/>
                <a:gd name="connsiteY22" fmla="*/ 1825992 h 1825992"/>
                <a:gd name="connsiteX23" fmla="*/ 627081 w 2194613"/>
                <a:gd name="connsiteY23" fmla="*/ 1474075 h 1825992"/>
                <a:gd name="connsiteX24" fmla="*/ 627081 w 2194613"/>
                <a:gd name="connsiteY24" fmla="*/ 1276154 h 1825992"/>
                <a:gd name="connsiteX25" fmla="*/ 631108 w 2194613"/>
                <a:gd name="connsiteY25" fmla="*/ 1271562 h 1825992"/>
                <a:gd name="connsiteX26" fmla="*/ 2139833 w 2194613"/>
                <a:gd name="connsiteY26" fmla="*/ 1271562 h 1825992"/>
                <a:gd name="connsiteX27" fmla="*/ 2151246 w 2194613"/>
                <a:gd name="connsiteY27" fmla="*/ 1269956 h 1825992"/>
                <a:gd name="connsiteX28" fmla="*/ 2161517 w 2194613"/>
                <a:gd name="connsiteY28" fmla="*/ 1265139 h 1825992"/>
                <a:gd name="connsiteX29" fmla="*/ 2170647 w 2194613"/>
                <a:gd name="connsiteY29" fmla="*/ 1258715 h 1825992"/>
                <a:gd name="connsiteX30" fmla="*/ 2178635 w 2194613"/>
                <a:gd name="connsiteY30" fmla="*/ 1249080 h 1825992"/>
                <a:gd name="connsiteX31" fmla="*/ 2185483 w 2194613"/>
                <a:gd name="connsiteY31" fmla="*/ 1237838 h 1825992"/>
                <a:gd name="connsiteX32" fmla="*/ 2190048 w 2194613"/>
                <a:gd name="connsiteY32" fmla="*/ 1223385 h 1825992"/>
                <a:gd name="connsiteX33" fmla="*/ 2193472 w 2194613"/>
                <a:gd name="connsiteY33" fmla="*/ 1208932 h 1825992"/>
                <a:gd name="connsiteX34" fmla="*/ 2194613 w 2194613"/>
                <a:gd name="connsiteY34" fmla="*/ 1194479 h 1825992"/>
                <a:gd name="connsiteX35" fmla="*/ 2194613 w 2194613"/>
                <a:gd name="connsiteY35" fmla="*/ 807458 h 1825992"/>
                <a:gd name="connsiteX36" fmla="*/ 2194613 w 2194613"/>
                <a:gd name="connsiteY36" fmla="*/ 725557 h 1825992"/>
                <a:gd name="connsiteX37" fmla="*/ 2194613 w 2194613"/>
                <a:gd name="connsiteY37" fmla="*/ 695045 h 1825992"/>
                <a:gd name="connsiteX38" fmla="*/ 2194613 w 2194613"/>
                <a:gd name="connsiteY38" fmla="*/ 373644 h 1825992"/>
                <a:gd name="connsiteX39" fmla="*/ 2194613 w 2194613"/>
                <a:gd name="connsiteY39" fmla="*/ 373644 h 1825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194613" h="1825992">
                  <a:moveTo>
                    <a:pt x="2194613" y="0"/>
                  </a:moveTo>
                  <a:lnTo>
                    <a:pt x="1879629" y="358115"/>
                  </a:lnTo>
                  <a:lnTo>
                    <a:pt x="1561222" y="0"/>
                  </a:lnTo>
                  <a:lnTo>
                    <a:pt x="1561222" y="348898"/>
                  </a:lnTo>
                  <a:lnTo>
                    <a:pt x="1561222" y="348898"/>
                  </a:lnTo>
                  <a:lnTo>
                    <a:pt x="1561222" y="617962"/>
                  </a:lnTo>
                  <a:lnTo>
                    <a:pt x="54780" y="617962"/>
                  </a:lnTo>
                  <a:lnTo>
                    <a:pt x="44509" y="619568"/>
                  </a:lnTo>
                  <a:lnTo>
                    <a:pt x="34237" y="624386"/>
                  </a:lnTo>
                  <a:lnTo>
                    <a:pt x="25108" y="630809"/>
                  </a:lnTo>
                  <a:lnTo>
                    <a:pt x="15978" y="640445"/>
                  </a:lnTo>
                  <a:lnTo>
                    <a:pt x="10271" y="651686"/>
                  </a:lnTo>
                  <a:lnTo>
                    <a:pt x="4565" y="664533"/>
                  </a:lnTo>
                  <a:lnTo>
                    <a:pt x="1141" y="678986"/>
                  </a:lnTo>
                  <a:lnTo>
                    <a:pt x="0" y="695045"/>
                  </a:lnTo>
                  <a:lnTo>
                    <a:pt x="0" y="892966"/>
                  </a:lnTo>
                  <a:lnTo>
                    <a:pt x="0" y="1104549"/>
                  </a:lnTo>
                  <a:lnTo>
                    <a:pt x="0" y="1194479"/>
                  </a:lnTo>
                  <a:lnTo>
                    <a:pt x="0" y="1274774"/>
                  </a:lnTo>
                  <a:lnTo>
                    <a:pt x="0" y="1302470"/>
                  </a:lnTo>
                  <a:lnTo>
                    <a:pt x="0" y="1392400"/>
                  </a:lnTo>
                  <a:lnTo>
                    <a:pt x="0" y="1472695"/>
                  </a:lnTo>
                  <a:lnTo>
                    <a:pt x="318407" y="1825992"/>
                  </a:lnTo>
                  <a:lnTo>
                    <a:pt x="627081" y="1474075"/>
                  </a:lnTo>
                  <a:lnTo>
                    <a:pt x="627081" y="1276154"/>
                  </a:lnTo>
                  <a:lnTo>
                    <a:pt x="631108" y="1271562"/>
                  </a:lnTo>
                  <a:lnTo>
                    <a:pt x="2139833" y="1271562"/>
                  </a:lnTo>
                  <a:lnTo>
                    <a:pt x="2151246" y="1269956"/>
                  </a:lnTo>
                  <a:lnTo>
                    <a:pt x="2161517" y="1265139"/>
                  </a:lnTo>
                  <a:lnTo>
                    <a:pt x="2170647" y="1258715"/>
                  </a:lnTo>
                  <a:lnTo>
                    <a:pt x="2178635" y="1249080"/>
                  </a:lnTo>
                  <a:lnTo>
                    <a:pt x="2185483" y="1237838"/>
                  </a:lnTo>
                  <a:lnTo>
                    <a:pt x="2190048" y="1223385"/>
                  </a:lnTo>
                  <a:lnTo>
                    <a:pt x="2193472" y="1208932"/>
                  </a:lnTo>
                  <a:lnTo>
                    <a:pt x="2194613" y="1194479"/>
                  </a:lnTo>
                  <a:lnTo>
                    <a:pt x="2194613" y="807458"/>
                  </a:lnTo>
                  <a:lnTo>
                    <a:pt x="2194613" y="725557"/>
                  </a:lnTo>
                  <a:lnTo>
                    <a:pt x="2194613" y="695045"/>
                  </a:lnTo>
                  <a:lnTo>
                    <a:pt x="2194613" y="373644"/>
                  </a:lnTo>
                  <a:lnTo>
                    <a:pt x="2194613" y="373644"/>
                  </a:lnTo>
                  <a:close/>
                </a:path>
              </a:pathLst>
            </a:custGeom>
            <a:grpFill/>
            <a:ln w="1270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67274" eaLnBrk="1" fontAlgn="auto" latinLnBrk="0" hangingPunct="1">
                <a:lnSpc>
                  <a:spcPct val="100000"/>
                </a:lnSpc>
                <a:spcBef>
                  <a:spcPts val="0"/>
                </a:spcBef>
                <a:spcAft>
                  <a:spcPts val="0"/>
                </a:spcAft>
                <a:buClrTx/>
                <a:buSzTx/>
                <a:buFontTx/>
                <a:buNone/>
                <a:tabLst/>
                <a:defRPr/>
              </a:pPr>
              <a:endParaRPr kumimoji="0" lang="en-GB" sz="1904" b="0" i="0" u="none" strike="noStrike" kern="0" cap="none" spc="0" normalizeH="0" baseline="0" noProof="0" dirty="0">
                <a:ln>
                  <a:noFill/>
                </a:ln>
                <a:solidFill>
                  <a:srgbClr val="4D4D4D"/>
                </a:solidFill>
                <a:effectLst/>
                <a:uLnTx/>
                <a:uFillTx/>
              </a:endParaRPr>
            </a:p>
          </p:txBody>
        </p:sp>
        <p:sp>
          <p:nvSpPr>
            <p:cNvPr id="29" name="Freeform 29">
              <a:extLst>
                <a:ext uri="{FF2B5EF4-FFF2-40B4-BE49-F238E27FC236}">
                  <a16:creationId xmlns:a16="http://schemas.microsoft.com/office/drawing/2014/main" id="{8EC46222-7647-E33C-B36E-3F1C8196D0F7}"/>
                </a:ext>
              </a:extLst>
            </p:cNvPr>
            <p:cNvSpPr>
              <a:spLocks/>
            </p:cNvSpPr>
            <p:nvPr/>
          </p:nvSpPr>
          <p:spPr bwMode="auto">
            <a:xfrm>
              <a:off x="731467" y="4296660"/>
              <a:ext cx="2194613" cy="1746000"/>
            </a:xfrm>
            <a:custGeom>
              <a:avLst/>
              <a:gdLst>
                <a:gd name="connsiteX0" fmla="*/ 2194613 w 2194613"/>
                <a:gd name="connsiteY0" fmla="*/ 0 h 1825992"/>
                <a:gd name="connsiteX1" fmla="*/ 1879629 w 2194613"/>
                <a:gd name="connsiteY1" fmla="*/ 358115 h 1825992"/>
                <a:gd name="connsiteX2" fmla="*/ 1561222 w 2194613"/>
                <a:gd name="connsiteY2" fmla="*/ 0 h 1825992"/>
                <a:gd name="connsiteX3" fmla="*/ 1561222 w 2194613"/>
                <a:gd name="connsiteY3" fmla="*/ 348898 h 1825992"/>
                <a:gd name="connsiteX4" fmla="*/ 1561222 w 2194613"/>
                <a:gd name="connsiteY4" fmla="*/ 348898 h 1825992"/>
                <a:gd name="connsiteX5" fmla="*/ 1561222 w 2194613"/>
                <a:gd name="connsiteY5" fmla="*/ 617962 h 1825992"/>
                <a:gd name="connsiteX6" fmla="*/ 54780 w 2194613"/>
                <a:gd name="connsiteY6" fmla="*/ 617962 h 1825992"/>
                <a:gd name="connsiteX7" fmla="*/ 44509 w 2194613"/>
                <a:gd name="connsiteY7" fmla="*/ 619568 h 1825992"/>
                <a:gd name="connsiteX8" fmla="*/ 34237 w 2194613"/>
                <a:gd name="connsiteY8" fmla="*/ 624386 h 1825992"/>
                <a:gd name="connsiteX9" fmla="*/ 25108 w 2194613"/>
                <a:gd name="connsiteY9" fmla="*/ 630809 h 1825992"/>
                <a:gd name="connsiteX10" fmla="*/ 15978 w 2194613"/>
                <a:gd name="connsiteY10" fmla="*/ 640445 h 1825992"/>
                <a:gd name="connsiteX11" fmla="*/ 10271 w 2194613"/>
                <a:gd name="connsiteY11" fmla="*/ 651686 h 1825992"/>
                <a:gd name="connsiteX12" fmla="*/ 4565 w 2194613"/>
                <a:gd name="connsiteY12" fmla="*/ 664533 h 1825992"/>
                <a:gd name="connsiteX13" fmla="*/ 1141 w 2194613"/>
                <a:gd name="connsiteY13" fmla="*/ 678986 h 1825992"/>
                <a:gd name="connsiteX14" fmla="*/ 0 w 2194613"/>
                <a:gd name="connsiteY14" fmla="*/ 695045 h 1825992"/>
                <a:gd name="connsiteX15" fmla="*/ 0 w 2194613"/>
                <a:gd name="connsiteY15" fmla="*/ 892966 h 1825992"/>
                <a:gd name="connsiteX16" fmla="*/ 0 w 2194613"/>
                <a:gd name="connsiteY16" fmla="*/ 1104549 h 1825992"/>
                <a:gd name="connsiteX17" fmla="*/ 0 w 2194613"/>
                <a:gd name="connsiteY17" fmla="*/ 1194479 h 1825992"/>
                <a:gd name="connsiteX18" fmla="*/ 0 w 2194613"/>
                <a:gd name="connsiteY18" fmla="*/ 1274774 h 1825992"/>
                <a:gd name="connsiteX19" fmla="*/ 0 w 2194613"/>
                <a:gd name="connsiteY19" fmla="*/ 1302470 h 1825992"/>
                <a:gd name="connsiteX20" fmla="*/ 0 w 2194613"/>
                <a:gd name="connsiteY20" fmla="*/ 1392400 h 1825992"/>
                <a:gd name="connsiteX21" fmla="*/ 0 w 2194613"/>
                <a:gd name="connsiteY21" fmla="*/ 1472695 h 1825992"/>
                <a:gd name="connsiteX22" fmla="*/ 318407 w 2194613"/>
                <a:gd name="connsiteY22" fmla="*/ 1825992 h 1825992"/>
                <a:gd name="connsiteX23" fmla="*/ 627081 w 2194613"/>
                <a:gd name="connsiteY23" fmla="*/ 1474075 h 1825992"/>
                <a:gd name="connsiteX24" fmla="*/ 627081 w 2194613"/>
                <a:gd name="connsiteY24" fmla="*/ 1276154 h 1825992"/>
                <a:gd name="connsiteX25" fmla="*/ 631108 w 2194613"/>
                <a:gd name="connsiteY25" fmla="*/ 1271562 h 1825992"/>
                <a:gd name="connsiteX26" fmla="*/ 2139833 w 2194613"/>
                <a:gd name="connsiteY26" fmla="*/ 1271562 h 1825992"/>
                <a:gd name="connsiteX27" fmla="*/ 2151246 w 2194613"/>
                <a:gd name="connsiteY27" fmla="*/ 1269956 h 1825992"/>
                <a:gd name="connsiteX28" fmla="*/ 2161517 w 2194613"/>
                <a:gd name="connsiteY28" fmla="*/ 1265139 h 1825992"/>
                <a:gd name="connsiteX29" fmla="*/ 2170647 w 2194613"/>
                <a:gd name="connsiteY29" fmla="*/ 1258715 h 1825992"/>
                <a:gd name="connsiteX30" fmla="*/ 2178635 w 2194613"/>
                <a:gd name="connsiteY30" fmla="*/ 1249080 h 1825992"/>
                <a:gd name="connsiteX31" fmla="*/ 2185483 w 2194613"/>
                <a:gd name="connsiteY31" fmla="*/ 1237838 h 1825992"/>
                <a:gd name="connsiteX32" fmla="*/ 2190048 w 2194613"/>
                <a:gd name="connsiteY32" fmla="*/ 1223385 h 1825992"/>
                <a:gd name="connsiteX33" fmla="*/ 2193472 w 2194613"/>
                <a:gd name="connsiteY33" fmla="*/ 1208932 h 1825992"/>
                <a:gd name="connsiteX34" fmla="*/ 2194613 w 2194613"/>
                <a:gd name="connsiteY34" fmla="*/ 1194479 h 1825992"/>
                <a:gd name="connsiteX35" fmla="*/ 2194613 w 2194613"/>
                <a:gd name="connsiteY35" fmla="*/ 807458 h 1825992"/>
                <a:gd name="connsiteX36" fmla="*/ 2194613 w 2194613"/>
                <a:gd name="connsiteY36" fmla="*/ 725557 h 1825992"/>
                <a:gd name="connsiteX37" fmla="*/ 2194613 w 2194613"/>
                <a:gd name="connsiteY37" fmla="*/ 695045 h 1825992"/>
                <a:gd name="connsiteX38" fmla="*/ 2194613 w 2194613"/>
                <a:gd name="connsiteY38" fmla="*/ 373644 h 1825992"/>
                <a:gd name="connsiteX39" fmla="*/ 2194613 w 2194613"/>
                <a:gd name="connsiteY39" fmla="*/ 373644 h 1825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194613" h="1825992">
                  <a:moveTo>
                    <a:pt x="2194613" y="0"/>
                  </a:moveTo>
                  <a:lnTo>
                    <a:pt x="1879629" y="358115"/>
                  </a:lnTo>
                  <a:lnTo>
                    <a:pt x="1561222" y="0"/>
                  </a:lnTo>
                  <a:lnTo>
                    <a:pt x="1561222" y="348898"/>
                  </a:lnTo>
                  <a:lnTo>
                    <a:pt x="1561222" y="348898"/>
                  </a:lnTo>
                  <a:lnTo>
                    <a:pt x="1561222" y="617962"/>
                  </a:lnTo>
                  <a:lnTo>
                    <a:pt x="54780" y="617962"/>
                  </a:lnTo>
                  <a:lnTo>
                    <a:pt x="44509" y="619568"/>
                  </a:lnTo>
                  <a:lnTo>
                    <a:pt x="34237" y="624386"/>
                  </a:lnTo>
                  <a:lnTo>
                    <a:pt x="25108" y="630809"/>
                  </a:lnTo>
                  <a:lnTo>
                    <a:pt x="15978" y="640445"/>
                  </a:lnTo>
                  <a:lnTo>
                    <a:pt x="10271" y="651686"/>
                  </a:lnTo>
                  <a:lnTo>
                    <a:pt x="4565" y="664533"/>
                  </a:lnTo>
                  <a:lnTo>
                    <a:pt x="1141" y="678986"/>
                  </a:lnTo>
                  <a:lnTo>
                    <a:pt x="0" y="695045"/>
                  </a:lnTo>
                  <a:lnTo>
                    <a:pt x="0" y="892966"/>
                  </a:lnTo>
                  <a:lnTo>
                    <a:pt x="0" y="1104549"/>
                  </a:lnTo>
                  <a:lnTo>
                    <a:pt x="0" y="1194479"/>
                  </a:lnTo>
                  <a:lnTo>
                    <a:pt x="0" y="1274774"/>
                  </a:lnTo>
                  <a:lnTo>
                    <a:pt x="0" y="1302470"/>
                  </a:lnTo>
                  <a:lnTo>
                    <a:pt x="0" y="1392400"/>
                  </a:lnTo>
                  <a:lnTo>
                    <a:pt x="0" y="1472695"/>
                  </a:lnTo>
                  <a:lnTo>
                    <a:pt x="318407" y="1825992"/>
                  </a:lnTo>
                  <a:lnTo>
                    <a:pt x="627081" y="1474075"/>
                  </a:lnTo>
                  <a:lnTo>
                    <a:pt x="627081" y="1276154"/>
                  </a:lnTo>
                  <a:lnTo>
                    <a:pt x="631108" y="1271562"/>
                  </a:lnTo>
                  <a:lnTo>
                    <a:pt x="2139833" y="1271562"/>
                  </a:lnTo>
                  <a:lnTo>
                    <a:pt x="2151246" y="1269956"/>
                  </a:lnTo>
                  <a:lnTo>
                    <a:pt x="2161517" y="1265139"/>
                  </a:lnTo>
                  <a:lnTo>
                    <a:pt x="2170647" y="1258715"/>
                  </a:lnTo>
                  <a:lnTo>
                    <a:pt x="2178635" y="1249080"/>
                  </a:lnTo>
                  <a:lnTo>
                    <a:pt x="2185483" y="1237838"/>
                  </a:lnTo>
                  <a:lnTo>
                    <a:pt x="2190048" y="1223385"/>
                  </a:lnTo>
                  <a:lnTo>
                    <a:pt x="2193472" y="1208932"/>
                  </a:lnTo>
                  <a:lnTo>
                    <a:pt x="2194613" y="1194479"/>
                  </a:lnTo>
                  <a:lnTo>
                    <a:pt x="2194613" y="807458"/>
                  </a:lnTo>
                  <a:lnTo>
                    <a:pt x="2194613" y="725557"/>
                  </a:lnTo>
                  <a:lnTo>
                    <a:pt x="2194613" y="695045"/>
                  </a:lnTo>
                  <a:lnTo>
                    <a:pt x="2194613" y="373644"/>
                  </a:lnTo>
                  <a:lnTo>
                    <a:pt x="2194613" y="373644"/>
                  </a:lnTo>
                  <a:close/>
                </a:path>
              </a:pathLst>
            </a:custGeom>
            <a:grpFill/>
            <a:ln w="1270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67274" eaLnBrk="1" fontAlgn="auto" latinLnBrk="0" hangingPunct="1">
                <a:lnSpc>
                  <a:spcPct val="100000"/>
                </a:lnSpc>
                <a:spcBef>
                  <a:spcPts val="0"/>
                </a:spcBef>
                <a:spcAft>
                  <a:spcPts val="0"/>
                </a:spcAft>
                <a:buClrTx/>
                <a:buSzTx/>
                <a:buFontTx/>
                <a:buNone/>
                <a:tabLst/>
                <a:defRPr/>
              </a:pPr>
              <a:endParaRPr kumimoji="0" lang="en-GB" sz="1904" b="0" i="0" u="none" strike="noStrike" kern="0" cap="none" spc="0" normalizeH="0" baseline="0" noProof="0">
                <a:ln>
                  <a:noFill/>
                </a:ln>
                <a:solidFill>
                  <a:srgbClr val="4D4D4D"/>
                </a:solidFill>
                <a:effectLst/>
                <a:uLnTx/>
                <a:uFillTx/>
              </a:endParaRPr>
            </a:p>
          </p:txBody>
        </p:sp>
        <p:sp>
          <p:nvSpPr>
            <p:cNvPr id="30" name="TextBox 29">
              <a:extLst>
                <a:ext uri="{FF2B5EF4-FFF2-40B4-BE49-F238E27FC236}">
                  <a16:creationId xmlns:a16="http://schemas.microsoft.com/office/drawing/2014/main" id="{68E8AE65-AC2D-57DF-9EBE-E5EC8512F987}"/>
                </a:ext>
              </a:extLst>
            </p:cNvPr>
            <p:cNvSpPr txBox="1"/>
            <p:nvPr/>
          </p:nvSpPr>
          <p:spPr>
            <a:xfrm>
              <a:off x="993395" y="2020098"/>
              <a:ext cx="1670756" cy="215444"/>
            </a:xfrm>
            <a:prstGeom prst="rect">
              <a:avLst/>
            </a:prstGeom>
            <a:grpFill/>
          </p:spPr>
          <p:txBody>
            <a:bodyPr vert="horz" wrap="square" lIns="0" tIns="0" rIns="0" bIns="0" rtlCol="0" anchor="ctr" anchorCtr="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895350" eaLnBrk="1" fontAlgn="auto" latinLnBrk="0" hangingPunct="1">
                <a:lnSpc>
                  <a:spcPct val="100000"/>
                </a:lnSpc>
                <a:spcBef>
                  <a:spcPts val="0"/>
                </a:spcBef>
                <a:spcAft>
                  <a:spcPts val="0"/>
                </a:spcAft>
                <a:buClr>
                  <a:srgbClr val="D1D1D1"/>
                </a:buClr>
                <a:buSzTx/>
                <a:buFontTx/>
                <a:buNone/>
                <a:tabLst/>
                <a:defRPr/>
              </a:pPr>
              <a:r>
                <a:rPr kumimoji="0" lang="en-US" sz="1400" b="0" i="0" u="none" strike="noStrike" kern="0" cap="none" spc="0" normalizeH="0" baseline="0" noProof="0" dirty="0">
                  <a:ln>
                    <a:noFill/>
                  </a:ln>
                  <a:solidFill>
                    <a:srgbClr val="4D4D4D"/>
                  </a:solidFill>
                  <a:effectLst/>
                  <a:uLnTx/>
                  <a:uFillTx/>
                  <a:latin typeface="Arial"/>
                </a:rPr>
                <a:t>Phase 1</a:t>
              </a:r>
            </a:p>
          </p:txBody>
        </p:sp>
        <p:sp>
          <p:nvSpPr>
            <p:cNvPr id="31" name="TextBox 30">
              <a:extLst>
                <a:ext uri="{FF2B5EF4-FFF2-40B4-BE49-F238E27FC236}">
                  <a16:creationId xmlns:a16="http://schemas.microsoft.com/office/drawing/2014/main" id="{87A594E1-F7FD-A13C-FFE9-4C06F24DFEA3}"/>
                </a:ext>
              </a:extLst>
            </p:cNvPr>
            <p:cNvSpPr txBox="1"/>
            <p:nvPr/>
          </p:nvSpPr>
          <p:spPr>
            <a:xfrm>
              <a:off x="993395" y="3543376"/>
              <a:ext cx="1670756" cy="215444"/>
            </a:xfrm>
            <a:prstGeom prst="rect">
              <a:avLst/>
            </a:prstGeom>
            <a:grpFill/>
          </p:spPr>
          <p:txBody>
            <a:bodyPr vert="horz" wrap="square" lIns="0" tIns="0" rIns="0" bIns="0" rtlCol="0" anchor="ctr" anchorCtr="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895350" eaLnBrk="1" fontAlgn="auto" latinLnBrk="0" hangingPunct="1">
                <a:lnSpc>
                  <a:spcPct val="100000"/>
                </a:lnSpc>
                <a:spcBef>
                  <a:spcPts val="0"/>
                </a:spcBef>
                <a:spcAft>
                  <a:spcPts val="0"/>
                </a:spcAft>
                <a:buClr>
                  <a:srgbClr val="D1D1D1"/>
                </a:buClr>
                <a:buSzTx/>
                <a:buFontTx/>
                <a:buNone/>
                <a:tabLst/>
                <a:defRPr/>
              </a:pPr>
              <a:r>
                <a:rPr kumimoji="0" lang="en-US" sz="1400" b="0" i="0" u="none" strike="noStrike" kern="0" cap="none" spc="0" normalizeH="0" baseline="0" noProof="0" dirty="0">
                  <a:ln>
                    <a:noFill/>
                  </a:ln>
                  <a:solidFill>
                    <a:srgbClr val="4D4D4D"/>
                  </a:solidFill>
                  <a:effectLst/>
                  <a:uLnTx/>
                  <a:uFillTx/>
                  <a:latin typeface="Arial"/>
                </a:rPr>
                <a:t>Phase 2</a:t>
              </a:r>
            </a:p>
          </p:txBody>
        </p:sp>
        <p:sp>
          <p:nvSpPr>
            <p:cNvPr id="1024" name="TextBox 1023">
              <a:extLst>
                <a:ext uri="{FF2B5EF4-FFF2-40B4-BE49-F238E27FC236}">
                  <a16:creationId xmlns:a16="http://schemas.microsoft.com/office/drawing/2014/main" id="{3B14750D-E5FA-9A1C-02CF-6ECD84A216C1}"/>
                </a:ext>
              </a:extLst>
            </p:cNvPr>
            <p:cNvSpPr txBox="1"/>
            <p:nvPr/>
          </p:nvSpPr>
          <p:spPr>
            <a:xfrm>
              <a:off x="993395" y="5081172"/>
              <a:ext cx="1670756" cy="215444"/>
            </a:xfrm>
            <a:prstGeom prst="rect">
              <a:avLst/>
            </a:prstGeom>
            <a:grpFill/>
          </p:spPr>
          <p:txBody>
            <a:bodyPr vert="horz" wrap="square" lIns="0" tIns="0" rIns="0" bIns="0" rtlCol="0" anchor="ctr" anchorCtr="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895350" eaLnBrk="1" fontAlgn="auto" latinLnBrk="0" hangingPunct="1">
                <a:lnSpc>
                  <a:spcPct val="100000"/>
                </a:lnSpc>
                <a:spcBef>
                  <a:spcPts val="0"/>
                </a:spcBef>
                <a:spcAft>
                  <a:spcPts val="0"/>
                </a:spcAft>
                <a:buClr>
                  <a:srgbClr val="D1D1D1"/>
                </a:buClr>
                <a:buSzTx/>
                <a:buFontTx/>
                <a:buNone/>
                <a:tabLst/>
                <a:defRPr/>
              </a:pPr>
              <a:r>
                <a:rPr kumimoji="0" lang="en-US" sz="1400" b="0" i="0" u="none" strike="noStrike" kern="0" cap="none" spc="0" normalizeH="0" baseline="0" noProof="0" dirty="0">
                  <a:ln>
                    <a:noFill/>
                  </a:ln>
                  <a:solidFill>
                    <a:srgbClr val="4D4D4D"/>
                  </a:solidFill>
                  <a:effectLst/>
                  <a:uLnTx/>
                  <a:uFillTx/>
                  <a:latin typeface="Arial"/>
                </a:rPr>
                <a:t>Phase 3</a:t>
              </a:r>
            </a:p>
          </p:txBody>
        </p:sp>
      </p:grpSp>
    </p:spTree>
    <p:extLst>
      <p:ext uri="{BB962C8B-B14F-4D97-AF65-F5344CB8AC3E}">
        <p14:creationId xmlns:p14="http://schemas.microsoft.com/office/powerpoint/2010/main" val="34786328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Freeform 10">
            <a:extLst>
              <a:ext uri="{FF2B5EF4-FFF2-40B4-BE49-F238E27FC236}">
                <a16:creationId xmlns:a16="http://schemas.microsoft.com/office/drawing/2014/main" id="{BEDC938A-EA97-46C7-B3F4-4A669008CFDC}"/>
              </a:ext>
            </a:extLst>
          </p:cNvPr>
          <p:cNvSpPr/>
          <p:nvPr/>
        </p:nvSpPr>
        <p:spPr>
          <a:xfrm>
            <a:off x="18944" y="2707869"/>
            <a:ext cx="9426897" cy="2366505"/>
          </a:xfrm>
          <a:custGeom>
            <a:avLst/>
            <a:gdLst>
              <a:gd name="connsiteX0" fmla="*/ 0 w 7344461"/>
              <a:gd name="connsiteY0" fmla="*/ 1843430 h 3489350"/>
              <a:gd name="connsiteX1" fmla="*/ 885139 w 7344461"/>
              <a:gd name="connsiteY1" fmla="*/ 1858061 h 3489350"/>
              <a:gd name="connsiteX2" fmla="*/ 994867 w 7344461"/>
              <a:gd name="connsiteY2" fmla="*/ 1316736 h 3489350"/>
              <a:gd name="connsiteX3" fmla="*/ 1338682 w 7344461"/>
              <a:gd name="connsiteY3" fmla="*/ 3489350 h 3489350"/>
              <a:gd name="connsiteX4" fmla="*/ 1609344 w 7344461"/>
              <a:gd name="connsiteY4" fmla="*/ 43891 h 3489350"/>
              <a:gd name="connsiteX5" fmla="*/ 1799539 w 7344461"/>
              <a:gd name="connsiteY5" fmla="*/ 2216505 h 3489350"/>
              <a:gd name="connsiteX6" fmla="*/ 2011680 w 7344461"/>
              <a:gd name="connsiteY6" fmla="*/ 1843430 h 3489350"/>
              <a:gd name="connsiteX7" fmla="*/ 3518611 w 7344461"/>
              <a:gd name="connsiteY7" fmla="*/ 1843430 h 3489350"/>
              <a:gd name="connsiteX8" fmla="*/ 2472538 w 7344461"/>
              <a:gd name="connsiteY8" fmla="*/ 409651 h 3489350"/>
              <a:gd name="connsiteX9" fmla="*/ 3160166 w 7344461"/>
              <a:gd name="connsiteY9" fmla="*/ 14630 h 3489350"/>
              <a:gd name="connsiteX10" fmla="*/ 3803904 w 7344461"/>
              <a:gd name="connsiteY10" fmla="*/ 387705 h 3489350"/>
              <a:gd name="connsiteX11" fmla="*/ 4462272 w 7344461"/>
              <a:gd name="connsiteY11" fmla="*/ 0 h 3489350"/>
              <a:gd name="connsiteX12" fmla="*/ 5113325 w 7344461"/>
              <a:gd name="connsiteY12" fmla="*/ 475488 h 3489350"/>
              <a:gd name="connsiteX13" fmla="*/ 4096512 w 7344461"/>
              <a:gd name="connsiteY13" fmla="*/ 1821485 h 3489350"/>
              <a:gd name="connsiteX14" fmla="*/ 5479085 w 7344461"/>
              <a:gd name="connsiteY14" fmla="*/ 1836115 h 3489350"/>
              <a:gd name="connsiteX15" fmla="*/ 5698541 w 7344461"/>
              <a:gd name="connsiteY15" fmla="*/ 2179929 h 3489350"/>
              <a:gd name="connsiteX16" fmla="*/ 5888736 w 7344461"/>
              <a:gd name="connsiteY16" fmla="*/ 29261 h 3489350"/>
              <a:gd name="connsiteX17" fmla="*/ 6166714 w 7344461"/>
              <a:gd name="connsiteY17" fmla="*/ 3489350 h 3489350"/>
              <a:gd name="connsiteX18" fmla="*/ 6510528 w 7344461"/>
              <a:gd name="connsiteY18" fmla="*/ 1331366 h 3489350"/>
              <a:gd name="connsiteX19" fmla="*/ 6620256 w 7344461"/>
              <a:gd name="connsiteY19" fmla="*/ 1916582 h 3489350"/>
              <a:gd name="connsiteX20" fmla="*/ 7344461 w 7344461"/>
              <a:gd name="connsiteY20" fmla="*/ 1865376 h 3489350"/>
              <a:gd name="connsiteX0" fmla="*/ 0 w 7344461"/>
              <a:gd name="connsiteY0" fmla="*/ 1865375 h 3489350"/>
              <a:gd name="connsiteX1" fmla="*/ 885139 w 7344461"/>
              <a:gd name="connsiteY1" fmla="*/ 1858061 h 3489350"/>
              <a:gd name="connsiteX2" fmla="*/ 994867 w 7344461"/>
              <a:gd name="connsiteY2" fmla="*/ 1316736 h 3489350"/>
              <a:gd name="connsiteX3" fmla="*/ 1338682 w 7344461"/>
              <a:gd name="connsiteY3" fmla="*/ 3489350 h 3489350"/>
              <a:gd name="connsiteX4" fmla="*/ 1609344 w 7344461"/>
              <a:gd name="connsiteY4" fmla="*/ 43891 h 3489350"/>
              <a:gd name="connsiteX5" fmla="*/ 1799539 w 7344461"/>
              <a:gd name="connsiteY5" fmla="*/ 2216505 h 3489350"/>
              <a:gd name="connsiteX6" fmla="*/ 2011680 w 7344461"/>
              <a:gd name="connsiteY6" fmla="*/ 1843430 h 3489350"/>
              <a:gd name="connsiteX7" fmla="*/ 3518611 w 7344461"/>
              <a:gd name="connsiteY7" fmla="*/ 1843430 h 3489350"/>
              <a:gd name="connsiteX8" fmla="*/ 2472538 w 7344461"/>
              <a:gd name="connsiteY8" fmla="*/ 409651 h 3489350"/>
              <a:gd name="connsiteX9" fmla="*/ 3160166 w 7344461"/>
              <a:gd name="connsiteY9" fmla="*/ 14630 h 3489350"/>
              <a:gd name="connsiteX10" fmla="*/ 3803904 w 7344461"/>
              <a:gd name="connsiteY10" fmla="*/ 387705 h 3489350"/>
              <a:gd name="connsiteX11" fmla="*/ 4462272 w 7344461"/>
              <a:gd name="connsiteY11" fmla="*/ 0 h 3489350"/>
              <a:gd name="connsiteX12" fmla="*/ 5113325 w 7344461"/>
              <a:gd name="connsiteY12" fmla="*/ 475488 h 3489350"/>
              <a:gd name="connsiteX13" fmla="*/ 4096512 w 7344461"/>
              <a:gd name="connsiteY13" fmla="*/ 1821485 h 3489350"/>
              <a:gd name="connsiteX14" fmla="*/ 5479085 w 7344461"/>
              <a:gd name="connsiteY14" fmla="*/ 1836115 h 3489350"/>
              <a:gd name="connsiteX15" fmla="*/ 5698541 w 7344461"/>
              <a:gd name="connsiteY15" fmla="*/ 2179929 h 3489350"/>
              <a:gd name="connsiteX16" fmla="*/ 5888736 w 7344461"/>
              <a:gd name="connsiteY16" fmla="*/ 29261 h 3489350"/>
              <a:gd name="connsiteX17" fmla="*/ 6166714 w 7344461"/>
              <a:gd name="connsiteY17" fmla="*/ 3489350 h 3489350"/>
              <a:gd name="connsiteX18" fmla="*/ 6510528 w 7344461"/>
              <a:gd name="connsiteY18" fmla="*/ 1331366 h 3489350"/>
              <a:gd name="connsiteX19" fmla="*/ 6620256 w 7344461"/>
              <a:gd name="connsiteY19" fmla="*/ 1916582 h 3489350"/>
              <a:gd name="connsiteX20" fmla="*/ 7344461 w 7344461"/>
              <a:gd name="connsiteY20" fmla="*/ 1865376 h 3489350"/>
              <a:gd name="connsiteX0" fmla="*/ 0 w 7344461"/>
              <a:gd name="connsiteY0" fmla="*/ 1865375 h 3489350"/>
              <a:gd name="connsiteX1" fmla="*/ 885139 w 7344461"/>
              <a:gd name="connsiteY1" fmla="*/ 1858061 h 3489350"/>
              <a:gd name="connsiteX2" fmla="*/ 994867 w 7344461"/>
              <a:gd name="connsiteY2" fmla="*/ 1316736 h 3489350"/>
              <a:gd name="connsiteX3" fmla="*/ 1338682 w 7344461"/>
              <a:gd name="connsiteY3" fmla="*/ 3489350 h 3489350"/>
              <a:gd name="connsiteX4" fmla="*/ 1609344 w 7344461"/>
              <a:gd name="connsiteY4" fmla="*/ 43891 h 3489350"/>
              <a:gd name="connsiteX5" fmla="*/ 1799539 w 7344461"/>
              <a:gd name="connsiteY5" fmla="*/ 2216505 h 3489350"/>
              <a:gd name="connsiteX6" fmla="*/ 2011680 w 7344461"/>
              <a:gd name="connsiteY6" fmla="*/ 1872691 h 3489350"/>
              <a:gd name="connsiteX7" fmla="*/ 3518611 w 7344461"/>
              <a:gd name="connsiteY7" fmla="*/ 1843430 h 3489350"/>
              <a:gd name="connsiteX8" fmla="*/ 2472538 w 7344461"/>
              <a:gd name="connsiteY8" fmla="*/ 409651 h 3489350"/>
              <a:gd name="connsiteX9" fmla="*/ 3160166 w 7344461"/>
              <a:gd name="connsiteY9" fmla="*/ 14630 h 3489350"/>
              <a:gd name="connsiteX10" fmla="*/ 3803904 w 7344461"/>
              <a:gd name="connsiteY10" fmla="*/ 387705 h 3489350"/>
              <a:gd name="connsiteX11" fmla="*/ 4462272 w 7344461"/>
              <a:gd name="connsiteY11" fmla="*/ 0 h 3489350"/>
              <a:gd name="connsiteX12" fmla="*/ 5113325 w 7344461"/>
              <a:gd name="connsiteY12" fmla="*/ 475488 h 3489350"/>
              <a:gd name="connsiteX13" fmla="*/ 4096512 w 7344461"/>
              <a:gd name="connsiteY13" fmla="*/ 1821485 h 3489350"/>
              <a:gd name="connsiteX14" fmla="*/ 5479085 w 7344461"/>
              <a:gd name="connsiteY14" fmla="*/ 1836115 h 3489350"/>
              <a:gd name="connsiteX15" fmla="*/ 5698541 w 7344461"/>
              <a:gd name="connsiteY15" fmla="*/ 2179929 h 3489350"/>
              <a:gd name="connsiteX16" fmla="*/ 5888736 w 7344461"/>
              <a:gd name="connsiteY16" fmla="*/ 29261 h 3489350"/>
              <a:gd name="connsiteX17" fmla="*/ 6166714 w 7344461"/>
              <a:gd name="connsiteY17" fmla="*/ 3489350 h 3489350"/>
              <a:gd name="connsiteX18" fmla="*/ 6510528 w 7344461"/>
              <a:gd name="connsiteY18" fmla="*/ 1331366 h 3489350"/>
              <a:gd name="connsiteX19" fmla="*/ 6620256 w 7344461"/>
              <a:gd name="connsiteY19" fmla="*/ 1916582 h 3489350"/>
              <a:gd name="connsiteX20" fmla="*/ 7344461 w 7344461"/>
              <a:gd name="connsiteY20" fmla="*/ 1865376 h 3489350"/>
              <a:gd name="connsiteX0" fmla="*/ 0 w 7344461"/>
              <a:gd name="connsiteY0" fmla="*/ 1865375 h 3489350"/>
              <a:gd name="connsiteX1" fmla="*/ 885139 w 7344461"/>
              <a:gd name="connsiteY1" fmla="*/ 1858061 h 3489350"/>
              <a:gd name="connsiteX2" fmla="*/ 994867 w 7344461"/>
              <a:gd name="connsiteY2" fmla="*/ 1316736 h 3489350"/>
              <a:gd name="connsiteX3" fmla="*/ 1338682 w 7344461"/>
              <a:gd name="connsiteY3" fmla="*/ 3489350 h 3489350"/>
              <a:gd name="connsiteX4" fmla="*/ 1609344 w 7344461"/>
              <a:gd name="connsiteY4" fmla="*/ 43891 h 3489350"/>
              <a:gd name="connsiteX5" fmla="*/ 1799539 w 7344461"/>
              <a:gd name="connsiteY5" fmla="*/ 2216505 h 3489350"/>
              <a:gd name="connsiteX6" fmla="*/ 2011680 w 7344461"/>
              <a:gd name="connsiteY6" fmla="*/ 1872691 h 3489350"/>
              <a:gd name="connsiteX7" fmla="*/ 2038831 w 7344461"/>
              <a:gd name="connsiteY7" fmla="*/ 1838381 h 3489350"/>
              <a:gd name="connsiteX8" fmla="*/ 3518611 w 7344461"/>
              <a:gd name="connsiteY8" fmla="*/ 1843430 h 3489350"/>
              <a:gd name="connsiteX9" fmla="*/ 2472538 w 7344461"/>
              <a:gd name="connsiteY9" fmla="*/ 409651 h 3489350"/>
              <a:gd name="connsiteX10" fmla="*/ 3160166 w 7344461"/>
              <a:gd name="connsiteY10" fmla="*/ 14630 h 3489350"/>
              <a:gd name="connsiteX11" fmla="*/ 3803904 w 7344461"/>
              <a:gd name="connsiteY11" fmla="*/ 387705 h 3489350"/>
              <a:gd name="connsiteX12" fmla="*/ 4462272 w 7344461"/>
              <a:gd name="connsiteY12" fmla="*/ 0 h 3489350"/>
              <a:gd name="connsiteX13" fmla="*/ 5113325 w 7344461"/>
              <a:gd name="connsiteY13" fmla="*/ 475488 h 3489350"/>
              <a:gd name="connsiteX14" fmla="*/ 4096512 w 7344461"/>
              <a:gd name="connsiteY14" fmla="*/ 1821485 h 3489350"/>
              <a:gd name="connsiteX15" fmla="*/ 5479085 w 7344461"/>
              <a:gd name="connsiteY15" fmla="*/ 1836115 h 3489350"/>
              <a:gd name="connsiteX16" fmla="*/ 5698541 w 7344461"/>
              <a:gd name="connsiteY16" fmla="*/ 2179929 h 3489350"/>
              <a:gd name="connsiteX17" fmla="*/ 5888736 w 7344461"/>
              <a:gd name="connsiteY17" fmla="*/ 29261 h 3489350"/>
              <a:gd name="connsiteX18" fmla="*/ 6166714 w 7344461"/>
              <a:gd name="connsiteY18" fmla="*/ 3489350 h 3489350"/>
              <a:gd name="connsiteX19" fmla="*/ 6510528 w 7344461"/>
              <a:gd name="connsiteY19" fmla="*/ 1331366 h 3489350"/>
              <a:gd name="connsiteX20" fmla="*/ 6620256 w 7344461"/>
              <a:gd name="connsiteY20" fmla="*/ 1916582 h 3489350"/>
              <a:gd name="connsiteX21" fmla="*/ 7344461 w 7344461"/>
              <a:gd name="connsiteY21" fmla="*/ 1865376 h 3489350"/>
              <a:gd name="connsiteX0" fmla="*/ 0 w 7344461"/>
              <a:gd name="connsiteY0" fmla="*/ 1865375 h 3489350"/>
              <a:gd name="connsiteX1" fmla="*/ 885139 w 7344461"/>
              <a:gd name="connsiteY1" fmla="*/ 1858061 h 3489350"/>
              <a:gd name="connsiteX2" fmla="*/ 994867 w 7344461"/>
              <a:gd name="connsiteY2" fmla="*/ 1316736 h 3489350"/>
              <a:gd name="connsiteX3" fmla="*/ 1338682 w 7344461"/>
              <a:gd name="connsiteY3" fmla="*/ 3489350 h 3489350"/>
              <a:gd name="connsiteX4" fmla="*/ 1609344 w 7344461"/>
              <a:gd name="connsiteY4" fmla="*/ 43891 h 3489350"/>
              <a:gd name="connsiteX5" fmla="*/ 1799539 w 7344461"/>
              <a:gd name="connsiteY5" fmla="*/ 2216505 h 3489350"/>
              <a:gd name="connsiteX6" fmla="*/ 2011680 w 7344461"/>
              <a:gd name="connsiteY6" fmla="*/ 1872691 h 3489350"/>
              <a:gd name="connsiteX7" fmla="*/ 2038831 w 7344461"/>
              <a:gd name="connsiteY7" fmla="*/ 1838381 h 3489350"/>
              <a:gd name="connsiteX8" fmla="*/ 3518611 w 7344461"/>
              <a:gd name="connsiteY8" fmla="*/ 1843430 h 3489350"/>
              <a:gd name="connsiteX9" fmla="*/ 3501871 w 7344461"/>
              <a:gd name="connsiteY9" fmla="*/ 1845697 h 3489350"/>
              <a:gd name="connsiteX10" fmla="*/ 2472538 w 7344461"/>
              <a:gd name="connsiteY10" fmla="*/ 409651 h 3489350"/>
              <a:gd name="connsiteX11" fmla="*/ 3160166 w 7344461"/>
              <a:gd name="connsiteY11" fmla="*/ 14630 h 3489350"/>
              <a:gd name="connsiteX12" fmla="*/ 3803904 w 7344461"/>
              <a:gd name="connsiteY12" fmla="*/ 387705 h 3489350"/>
              <a:gd name="connsiteX13" fmla="*/ 4462272 w 7344461"/>
              <a:gd name="connsiteY13" fmla="*/ 0 h 3489350"/>
              <a:gd name="connsiteX14" fmla="*/ 5113325 w 7344461"/>
              <a:gd name="connsiteY14" fmla="*/ 475488 h 3489350"/>
              <a:gd name="connsiteX15" fmla="*/ 4096512 w 7344461"/>
              <a:gd name="connsiteY15" fmla="*/ 1821485 h 3489350"/>
              <a:gd name="connsiteX16" fmla="*/ 5479085 w 7344461"/>
              <a:gd name="connsiteY16" fmla="*/ 1836115 h 3489350"/>
              <a:gd name="connsiteX17" fmla="*/ 5698541 w 7344461"/>
              <a:gd name="connsiteY17" fmla="*/ 2179929 h 3489350"/>
              <a:gd name="connsiteX18" fmla="*/ 5888736 w 7344461"/>
              <a:gd name="connsiteY18" fmla="*/ 29261 h 3489350"/>
              <a:gd name="connsiteX19" fmla="*/ 6166714 w 7344461"/>
              <a:gd name="connsiteY19" fmla="*/ 3489350 h 3489350"/>
              <a:gd name="connsiteX20" fmla="*/ 6510528 w 7344461"/>
              <a:gd name="connsiteY20" fmla="*/ 1331366 h 3489350"/>
              <a:gd name="connsiteX21" fmla="*/ 6620256 w 7344461"/>
              <a:gd name="connsiteY21" fmla="*/ 1916582 h 3489350"/>
              <a:gd name="connsiteX22" fmla="*/ 7344461 w 7344461"/>
              <a:gd name="connsiteY22" fmla="*/ 1865376 h 3489350"/>
              <a:gd name="connsiteX0" fmla="*/ 0 w 7344461"/>
              <a:gd name="connsiteY0" fmla="*/ 1865375 h 3489350"/>
              <a:gd name="connsiteX1" fmla="*/ 885139 w 7344461"/>
              <a:gd name="connsiteY1" fmla="*/ 1858061 h 3489350"/>
              <a:gd name="connsiteX2" fmla="*/ 994867 w 7344461"/>
              <a:gd name="connsiteY2" fmla="*/ 1316736 h 3489350"/>
              <a:gd name="connsiteX3" fmla="*/ 1338682 w 7344461"/>
              <a:gd name="connsiteY3" fmla="*/ 3489350 h 3489350"/>
              <a:gd name="connsiteX4" fmla="*/ 1609344 w 7344461"/>
              <a:gd name="connsiteY4" fmla="*/ 43891 h 3489350"/>
              <a:gd name="connsiteX5" fmla="*/ 1799539 w 7344461"/>
              <a:gd name="connsiteY5" fmla="*/ 2216505 h 3489350"/>
              <a:gd name="connsiteX6" fmla="*/ 2011680 w 7344461"/>
              <a:gd name="connsiteY6" fmla="*/ 1872691 h 3489350"/>
              <a:gd name="connsiteX7" fmla="*/ 2038831 w 7344461"/>
              <a:gd name="connsiteY7" fmla="*/ 1838381 h 3489350"/>
              <a:gd name="connsiteX8" fmla="*/ 3518611 w 7344461"/>
              <a:gd name="connsiteY8" fmla="*/ 1843430 h 3489350"/>
              <a:gd name="connsiteX9" fmla="*/ 3501871 w 7344461"/>
              <a:gd name="connsiteY9" fmla="*/ 1845697 h 3489350"/>
              <a:gd name="connsiteX10" fmla="*/ 2472538 w 7344461"/>
              <a:gd name="connsiteY10" fmla="*/ 409651 h 3489350"/>
              <a:gd name="connsiteX11" fmla="*/ 3160166 w 7344461"/>
              <a:gd name="connsiteY11" fmla="*/ 14630 h 3489350"/>
              <a:gd name="connsiteX12" fmla="*/ 3803904 w 7344461"/>
              <a:gd name="connsiteY12" fmla="*/ 387705 h 3489350"/>
              <a:gd name="connsiteX13" fmla="*/ 4462272 w 7344461"/>
              <a:gd name="connsiteY13" fmla="*/ 0 h 3489350"/>
              <a:gd name="connsiteX14" fmla="*/ 5113325 w 7344461"/>
              <a:gd name="connsiteY14" fmla="*/ 475488 h 3489350"/>
              <a:gd name="connsiteX15" fmla="*/ 4089196 w 7344461"/>
              <a:gd name="connsiteY15" fmla="*/ 1843431 h 3489350"/>
              <a:gd name="connsiteX16" fmla="*/ 5479085 w 7344461"/>
              <a:gd name="connsiteY16" fmla="*/ 1836115 h 3489350"/>
              <a:gd name="connsiteX17" fmla="*/ 5698541 w 7344461"/>
              <a:gd name="connsiteY17" fmla="*/ 2179929 h 3489350"/>
              <a:gd name="connsiteX18" fmla="*/ 5888736 w 7344461"/>
              <a:gd name="connsiteY18" fmla="*/ 29261 h 3489350"/>
              <a:gd name="connsiteX19" fmla="*/ 6166714 w 7344461"/>
              <a:gd name="connsiteY19" fmla="*/ 3489350 h 3489350"/>
              <a:gd name="connsiteX20" fmla="*/ 6510528 w 7344461"/>
              <a:gd name="connsiteY20" fmla="*/ 1331366 h 3489350"/>
              <a:gd name="connsiteX21" fmla="*/ 6620256 w 7344461"/>
              <a:gd name="connsiteY21" fmla="*/ 1916582 h 3489350"/>
              <a:gd name="connsiteX22" fmla="*/ 7344461 w 7344461"/>
              <a:gd name="connsiteY22" fmla="*/ 1865376 h 3489350"/>
              <a:gd name="connsiteX0" fmla="*/ 0 w 7344461"/>
              <a:gd name="connsiteY0" fmla="*/ 1865375 h 3489350"/>
              <a:gd name="connsiteX1" fmla="*/ 885139 w 7344461"/>
              <a:gd name="connsiteY1" fmla="*/ 1858061 h 3489350"/>
              <a:gd name="connsiteX2" fmla="*/ 994867 w 7344461"/>
              <a:gd name="connsiteY2" fmla="*/ 1316736 h 3489350"/>
              <a:gd name="connsiteX3" fmla="*/ 1338682 w 7344461"/>
              <a:gd name="connsiteY3" fmla="*/ 3489350 h 3489350"/>
              <a:gd name="connsiteX4" fmla="*/ 1609344 w 7344461"/>
              <a:gd name="connsiteY4" fmla="*/ 43891 h 3489350"/>
              <a:gd name="connsiteX5" fmla="*/ 1799539 w 7344461"/>
              <a:gd name="connsiteY5" fmla="*/ 2216505 h 3489350"/>
              <a:gd name="connsiteX6" fmla="*/ 2011680 w 7344461"/>
              <a:gd name="connsiteY6" fmla="*/ 1872691 h 3489350"/>
              <a:gd name="connsiteX7" fmla="*/ 2038831 w 7344461"/>
              <a:gd name="connsiteY7" fmla="*/ 1838381 h 3489350"/>
              <a:gd name="connsiteX8" fmla="*/ 3518611 w 7344461"/>
              <a:gd name="connsiteY8" fmla="*/ 1843430 h 3489350"/>
              <a:gd name="connsiteX9" fmla="*/ 3501871 w 7344461"/>
              <a:gd name="connsiteY9" fmla="*/ 1845697 h 3489350"/>
              <a:gd name="connsiteX10" fmla="*/ 2472538 w 7344461"/>
              <a:gd name="connsiteY10" fmla="*/ 409651 h 3489350"/>
              <a:gd name="connsiteX11" fmla="*/ 3160166 w 7344461"/>
              <a:gd name="connsiteY11" fmla="*/ 14630 h 3489350"/>
              <a:gd name="connsiteX12" fmla="*/ 3803904 w 7344461"/>
              <a:gd name="connsiteY12" fmla="*/ 387705 h 3489350"/>
              <a:gd name="connsiteX13" fmla="*/ 4462272 w 7344461"/>
              <a:gd name="connsiteY13" fmla="*/ 0 h 3489350"/>
              <a:gd name="connsiteX14" fmla="*/ 5113325 w 7344461"/>
              <a:gd name="connsiteY14" fmla="*/ 475488 h 3489350"/>
              <a:gd name="connsiteX15" fmla="*/ 4089196 w 7344461"/>
              <a:gd name="connsiteY15" fmla="*/ 1843431 h 3489350"/>
              <a:gd name="connsiteX16" fmla="*/ 5479085 w 7344461"/>
              <a:gd name="connsiteY16" fmla="*/ 1865376 h 3489350"/>
              <a:gd name="connsiteX17" fmla="*/ 5698541 w 7344461"/>
              <a:gd name="connsiteY17" fmla="*/ 2179929 h 3489350"/>
              <a:gd name="connsiteX18" fmla="*/ 5888736 w 7344461"/>
              <a:gd name="connsiteY18" fmla="*/ 29261 h 3489350"/>
              <a:gd name="connsiteX19" fmla="*/ 6166714 w 7344461"/>
              <a:gd name="connsiteY19" fmla="*/ 3489350 h 3489350"/>
              <a:gd name="connsiteX20" fmla="*/ 6510528 w 7344461"/>
              <a:gd name="connsiteY20" fmla="*/ 1331366 h 3489350"/>
              <a:gd name="connsiteX21" fmla="*/ 6620256 w 7344461"/>
              <a:gd name="connsiteY21" fmla="*/ 1916582 h 3489350"/>
              <a:gd name="connsiteX22" fmla="*/ 7344461 w 7344461"/>
              <a:gd name="connsiteY22" fmla="*/ 1865376 h 3489350"/>
              <a:gd name="connsiteX0" fmla="*/ 0 w 7344461"/>
              <a:gd name="connsiteY0" fmla="*/ 1865375 h 3489350"/>
              <a:gd name="connsiteX1" fmla="*/ 885139 w 7344461"/>
              <a:gd name="connsiteY1" fmla="*/ 1858061 h 3489350"/>
              <a:gd name="connsiteX2" fmla="*/ 994867 w 7344461"/>
              <a:gd name="connsiteY2" fmla="*/ 1316736 h 3489350"/>
              <a:gd name="connsiteX3" fmla="*/ 1338682 w 7344461"/>
              <a:gd name="connsiteY3" fmla="*/ 3489350 h 3489350"/>
              <a:gd name="connsiteX4" fmla="*/ 1609344 w 7344461"/>
              <a:gd name="connsiteY4" fmla="*/ 43891 h 3489350"/>
              <a:gd name="connsiteX5" fmla="*/ 1799539 w 7344461"/>
              <a:gd name="connsiteY5" fmla="*/ 2216505 h 3489350"/>
              <a:gd name="connsiteX6" fmla="*/ 2011680 w 7344461"/>
              <a:gd name="connsiteY6" fmla="*/ 1872691 h 3489350"/>
              <a:gd name="connsiteX7" fmla="*/ 2038831 w 7344461"/>
              <a:gd name="connsiteY7" fmla="*/ 1838381 h 3489350"/>
              <a:gd name="connsiteX8" fmla="*/ 3518611 w 7344461"/>
              <a:gd name="connsiteY8" fmla="*/ 1843430 h 3489350"/>
              <a:gd name="connsiteX9" fmla="*/ 3501871 w 7344461"/>
              <a:gd name="connsiteY9" fmla="*/ 1845697 h 3489350"/>
              <a:gd name="connsiteX10" fmla="*/ 2472538 w 7344461"/>
              <a:gd name="connsiteY10" fmla="*/ 409651 h 3489350"/>
              <a:gd name="connsiteX11" fmla="*/ 3160166 w 7344461"/>
              <a:gd name="connsiteY11" fmla="*/ 14630 h 3489350"/>
              <a:gd name="connsiteX12" fmla="*/ 3803904 w 7344461"/>
              <a:gd name="connsiteY12" fmla="*/ 387705 h 3489350"/>
              <a:gd name="connsiteX13" fmla="*/ 4462272 w 7344461"/>
              <a:gd name="connsiteY13" fmla="*/ 0 h 3489350"/>
              <a:gd name="connsiteX14" fmla="*/ 5113325 w 7344461"/>
              <a:gd name="connsiteY14" fmla="*/ 475488 h 3489350"/>
              <a:gd name="connsiteX15" fmla="*/ 4089196 w 7344461"/>
              <a:gd name="connsiteY15" fmla="*/ 1843431 h 3489350"/>
              <a:gd name="connsiteX16" fmla="*/ 5479085 w 7344461"/>
              <a:gd name="connsiteY16" fmla="*/ 1865376 h 3489350"/>
              <a:gd name="connsiteX17" fmla="*/ 5498920 w 7344461"/>
              <a:gd name="connsiteY17" fmla="*/ 1860327 h 3489350"/>
              <a:gd name="connsiteX18" fmla="*/ 5698541 w 7344461"/>
              <a:gd name="connsiteY18" fmla="*/ 2179929 h 3489350"/>
              <a:gd name="connsiteX19" fmla="*/ 5888736 w 7344461"/>
              <a:gd name="connsiteY19" fmla="*/ 29261 h 3489350"/>
              <a:gd name="connsiteX20" fmla="*/ 6166714 w 7344461"/>
              <a:gd name="connsiteY20" fmla="*/ 3489350 h 3489350"/>
              <a:gd name="connsiteX21" fmla="*/ 6510528 w 7344461"/>
              <a:gd name="connsiteY21" fmla="*/ 1331366 h 3489350"/>
              <a:gd name="connsiteX22" fmla="*/ 6620256 w 7344461"/>
              <a:gd name="connsiteY22" fmla="*/ 1916582 h 3489350"/>
              <a:gd name="connsiteX23" fmla="*/ 7344461 w 7344461"/>
              <a:gd name="connsiteY23" fmla="*/ 1865376 h 3489350"/>
              <a:gd name="connsiteX0" fmla="*/ 0 w 7344461"/>
              <a:gd name="connsiteY0" fmla="*/ 1865375 h 3489350"/>
              <a:gd name="connsiteX1" fmla="*/ 885139 w 7344461"/>
              <a:gd name="connsiteY1" fmla="*/ 1858061 h 3489350"/>
              <a:gd name="connsiteX2" fmla="*/ 994867 w 7344461"/>
              <a:gd name="connsiteY2" fmla="*/ 1316736 h 3489350"/>
              <a:gd name="connsiteX3" fmla="*/ 1338682 w 7344461"/>
              <a:gd name="connsiteY3" fmla="*/ 3489350 h 3489350"/>
              <a:gd name="connsiteX4" fmla="*/ 1609344 w 7344461"/>
              <a:gd name="connsiteY4" fmla="*/ 43891 h 3489350"/>
              <a:gd name="connsiteX5" fmla="*/ 1799539 w 7344461"/>
              <a:gd name="connsiteY5" fmla="*/ 2216505 h 3489350"/>
              <a:gd name="connsiteX6" fmla="*/ 2011680 w 7344461"/>
              <a:gd name="connsiteY6" fmla="*/ 1872691 h 3489350"/>
              <a:gd name="connsiteX7" fmla="*/ 2038831 w 7344461"/>
              <a:gd name="connsiteY7" fmla="*/ 1838381 h 3489350"/>
              <a:gd name="connsiteX8" fmla="*/ 3518611 w 7344461"/>
              <a:gd name="connsiteY8" fmla="*/ 1843430 h 3489350"/>
              <a:gd name="connsiteX9" fmla="*/ 3501871 w 7344461"/>
              <a:gd name="connsiteY9" fmla="*/ 1845697 h 3489350"/>
              <a:gd name="connsiteX10" fmla="*/ 2472538 w 7344461"/>
              <a:gd name="connsiteY10" fmla="*/ 409651 h 3489350"/>
              <a:gd name="connsiteX11" fmla="*/ 3160166 w 7344461"/>
              <a:gd name="connsiteY11" fmla="*/ 14630 h 3489350"/>
              <a:gd name="connsiteX12" fmla="*/ 3803904 w 7344461"/>
              <a:gd name="connsiteY12" fmla="*/ 387705 h 3489350"/>
              <a:gd name="connsiteX13" fmla="*/ 4462272 w 7344461"/>
              <a:gd name="connsiteY13" fmla="*/ 0 h 3489350"/>
              <a:gd name="connsiteX14" fmla="*/ 5113325 w 7344461"/>
              <a:gd name="connsiteY14" fmla="*/ 475488 h 3489350"/>
              <a:gd name="connsiteX15" fmla="*/ 4089196 w 7344461"/>
              <a:gd name="connsiteY15" fmla="*/ 1843431 h 3489350"/>
              <a:gd name="connsiteX16" fmla="*/ 5479085 w 7344461"/>
              <a:gd name="connsiteY16" fmla="*/ 1865376 h 3489350"/>
              <a:gd name="connsiteX17" fmla="*/ 5498920 w 7344461"/>
              <a:gd name="connsiteY17" fmla="*/ 1860327 h 3489350"/>
              <a:gd name="connsiteX18" fmla="*/ 5698541 w 7344461"/>
              <a:gd name="connsiteY18" fmla="*/ 2179929 h 3489350"/>
              <a:gd name="connsiteX19" fmla="*/ 5888736 w 7344461"/>
              <a:gd name="connsiteY19" fmla="*/ 29261 h 3489350"/>
              <a:gd name="connsiteX20" fmla="*/ 6166714 w 7344461"/>
              <a:gd name="connsiteY20" fmla="*/ 3489350 h 3489350"/>
              <a:gd name="connsiteX21" fmla="*/ 6510528 w 7344461"/>
              <a:gd name="connsiteY21" fmla="*/ 1331366 h 3489350"/>
              <a:gd name="connsiteX22" fmla="*/ 6620256 w 7344461"/>
              <a:gd name="connsiteY22" fmla="*/ 1880006 h 3489350"/>
              <a:gd name="connsiteX23" fmla="*/ 7344461 w 7344461"/>
              <a:gd name="connsiteY23" fmla="*/ 1865376 h 3489350"/>
              <a:gd name="connsiteX0" fmla="*/ 0 w 7366407"/>
              <a:gd name="connsiteY0" fmla="*/ 1865375 h 3489350"/>
              <a:gd name="connsiteX1" fmla="*/ 885139 w 7366407"/>
              <a:gd name="connsiteY1" fmla="*/ 1858061 h 3489350"/>
              <a:gd name="connsiteX2" fmla="*/ 994867 w 7366407"/>
              <a:gd name="connsiteY2" fmla="*/ 1316736 h 3489350"/>
              <a:gd name="connsiteX3" fmla="*/ 1338682 w 7366407"/>
              <a:gd name="connsiteY3" fmla="*/ 3489350 h 3489350"/>
              <a:gd name="connsiteX4" fmla="*/ 1609344 w 7366407"/>
              <a:gd name="connsiteY4" fmla="*/ 43891 h 3489350"/>
              <a:gd name="connsiteX5" fmla="*/ 1799539 w 7366407"/>
              <a:gd name="connsiteY5" fmla="*/ 2216505 h 3489350"/>
              <a:gd name="connsiteX6" fmla="*/ 2011680 w 7366407"/>
              <a:gd name="connsiteY6" fmla="*/ 1872691 h 3489350"/>
              <a:gd name="connsiteX7" fmla="*/ 2038831 w 7366407"/>
              <a:gd name="connsiteY7" fmla="*/ 1838381 h 3489350"/>
              <a:gd name="connsiteX8" fmla="*/ 3518611 w 7366407"/>
              <a:gd name="connsiteY8" fmla="*/ 1843430 h 3489350"/>
              <a:gd name="connsiteX9" fmla="*/ 3501871 w 7366407"/>
              <a:gd name="connsiteY9" fmla="*/ 1845697 h 3489350"/>
              <a:gd name="connsiteX10" fmla="*/ 2472538 w 7366407"/>
              <a:gd name="connsiteY10" fmla="*/ 409651 h 3489350"/>
              <a:gd name="connsiteX11" fmla="*/ 3160166 w 7366407"/>
              <a:gd name="connsiteY11" fmla="*/ 14630 h 3489350"/>
              <a:gd name="connsiteX12" fmla="*/ 3803904 w 7366407"/>
              <a:gd name="connsiteY12" fmla="*/ 387705 h 3489350"/>
              <a:gd name="connsiteX13" fmla="*/ 4462272 w 7366407"/>
              <a:gd name="connsiteY13" fmla="*/ 0 h 3489350"/>
              <a:gd name="connsiteX14" fmla="*/ 5113325 w 7366407"/>
              <a:gd name="connsiteY14" fmla="*/ 475488 h 3489350"/>
              <a:gd name="connsiteX15" fmla="*/ 4089196 w 7366407"/>
              <a:gd name="connsiteY15" fmla="*/ 1843431 h 3489350"/>
              <a:gd name="connsiteX16" fmla="*/ 5479085 w 7366407"/>
              <a:gd name="connsiteY16" fmla="*/ 1865376 h 3489350"/>
              <a:gd name="connsiteX17" fmla="*/ 5498920 w 7366407"/>
              <a:gd name="connsiteY17" fmla="*/ 1860327 h 3489350"/>
              <a:gd name="connsiteX18" fmla="*/ 5698541 w 7366407"/>
              <a:gd name="connsiteY18" fmla="*/ 2179929 h 3489350"/>
              <a:gd name="connsiteX19" fmla="*/ 5888736 w 7366407"/>
              <a:gd name="connsiteY19" fmla="*/ 29261 h 3489350"/>
              <a:gd name="connsiteX20" fmla="*/ 6166714 w 7366407"/>
              <a:gd name="connsiteY20" fmla="*/ 3489350 h 3489350"/>
              <a:gd name="connsiteX21" fmla="*/ 6510528 w 7366407"/>
              <a:gd name="connsiteY21" fmla="*/ 1331366 h 3489350"/>
              <a:gd name="connsiteX22" fmla="*/ 6620256 w 7366407"/>
              <a:gd name="connsiteY22" fmla="*/ 1880006 h 3489350"/>
              <a:gd name="connsiteX23" fmla="*/ 7366407 w 7366407"/>
              <a:gd name="connsiteY23" fmla="*/ 1887322 h 3489350"/>
              <a:gd name="connsiteX0" fmla="*/ 0 w 7366407"/>
              <a:gd name="connsiteY0" fmla="*/ 1865375 h 3489350"/>
              <a:gd name="connsiteX1" fmla="*/ 885139 w 7366407"/>
              <a:gd name="connsiteY1" fmla="*/ 1858061 h 3489350"/>
              <a:gd name="connsiteX2" fmla="*/ 1009498 w 7366407"/>
              <a:gd name="connsiteY2" fmla="*/ 1228954 h 3489350"/>
              <a:gd name="connsiteX3" fmla="*/ 1338682 w 7366407"/>
              <a:gd name="connsiteY3" fmla="*/ 3489350 h 3489350"/>
              <a:gd name="connsiteX4" fmla="*/ 1609344 w 7366407"/>
              <a:gd name="connsiteY4" fmla="*/ 43891 h 3489350"/>
              <a:gd name="connsiteX5" fmla="*/ 1799539 w 7366407"/>
              <a:gd name="connsiteY5" fmla="*/ 2216505 h 3489350"/>
              <a:gd name="connsiteX6" fmla="*/ 2011680 w 7366407"/>
              <a:gd name="connsiteY6" fmla="*/ 1872691 h 3489350"/>
              <a:gd name="connsiteX7" fmla="*/ 2038831 w 7366407"/>
              <a:gd name="connsiteY7" fmla="*/ 1838381 h 3489350"/>
              <a:gd name="connsiteX8" fmla="*/ 3518611 w 7366407"/>
              <a:gd name="connsiteY8" fmla="*/ 1843430 h 3489350"/>
              <a:gd name="connsiteX9" fmla="*/ 3501871 w 7366407"/>
              <a:gd name="connsiteY9" fmla="*/ 1845697 h 3489350"/>
              <a:gd name="connsiteX10" fmla="*/ 2472538 w 7366407"/>
              <a:gd name="connsiteY10" fmla="*/ 409651 h 3489350"/>
              <a:gd name="connsiteX11" fmla="*/ 3160166 w 7366407"/>
              <a:gd name="connsiteY11" fmla="*/ 14630 h 3489350"/>
              <a:gd name="connsiteX12" fmla="*/ 3803904 w 7366407"/>
              <a:gd name="connsiteY12" fmla="*/ 387705 h 3489350"/>
              <a:gd name="connsiteX13" fmla="*/ 4462272 w 7366407"/>
              <a:gd name="connsiteY13" fmla="*/ 0 h 3489350"/>
              <a:gd name="connsiteX14" fmla="*/ 5113325 w 7366407"/>
              <a:gd name="connsiteY14" fmla="*/ 475488 h 3489350"/>
              <a:gd name="connsiteX15" fmla="*/ 4089196 w 7366407"/>
              <a:gd name="connsiteY15" fmla="*/ 1843431 h 3489350"/>
              <a:gd name="connsiteX16" fmla="*/ 5479085 w 7366407"/>
              <a:gd name="connsiteY16" fmla="*/ 1865376 h 3489350"/>
              <a:gd name="connsiteX17" fmla="*/ 5498920 w 7366407"/>
              <a:gd name="connsiteY17" fmla="*/ 1860327 h 3489350"/>
              <a:gd name="connsiteX18" fmla="*/ 5698541 w 7366407"/>
              <a:gd name="connsiteY18" fmla="*/ 2179929 h 3489350"/>
              <a:gd name="connsiteX19" fmla="*/ 5888736 w 7366407"/>
              <a:gd name="connsiteY19" fmla="*/ 29261 h 3489350"/>
              <a:gd name="connsiteX20" fmla="*/ 6166714 w 7366407"/>
              <a:gd name="connsiteY20" fmla="*/ 3489350 h 3489350"/>
              <a:gd name="connsiteX21" fmla="*/ 6510528 w 7366407"/>
              <a:gd name="connsiteY21" fmla="*/ 1331366 h 3489350"/>
              <a:gd name="connsiteX22" fmla="*/ 6620256 w 7366407"/>
              <a:gd name="connsiteY22" fmla="*/ 1880006 h 3489350"/>
              <a:gd name="connsiteX23" fmla="*/ 7366407 w 7366407"/>
              <a:gd name="connsiteY23" fmla="*/ 1887322 h 3489350"/>
              <a:gd name="connsiteX0" fmla="*/ 0 w 7366407"/>
              <a:gd name="connsiteY0" fmla="*/ 1865375 h 3555187"/>
              <a:gd name="connsiteX1" fmla="*/ 885139 w 7366407"/>
              <a:gd name="connsiteY1" fmla="*/ 1858061 h 3555187"/>
              <a:gd name="connsiteX2" fmla="*/ 1009498 w 7366407"/>
              <a:gd name="connsiteY2" fmla="*/ 1228954 h 3555187"/>
              <a:gd name="connsiteX3" fmla="*/ 1294790 w 7366407"/>
              <a:gd name="connsiteY3" fmla="*/ 3555187 h 3555187"/>
              <a:gd name="connsiteX4" fmla="*/ 1609344 w 7366407"/>
              <a:gd name="connsiteY4" fmla="*/ 43891 h 3555187"/>
              <a:gd name="connsiteX5" fmla="*/ 1799539 w 7366407"/>
              <a:gd name="connsiteY5" fmla="*/ 2216505 h 3555187"/>
              <a:gd name="connsiteX6" fmla="*/ 2011680 w 7366407"/>
              <a:gd name="connsiteY6" fmla="*/ 1872691 h 3555187"/>
              <a:gd name="connsiteX7" fmla="*/ 2038831 w 7366407"/>
              <a:gd name="connsiteY7" fmla="*/ 1838381 h 3555187"/>
              <a:gd name="connsiteX8" fmla="*/ 3518611 w 7366407"/>
              <a:gd name="connsiteY8" fmla="*/ 1843430 h 3555187"/>
              <a:gd name="connsiteX9" fmla="*/ 3501871 w 7366407"/>
              <a:gd name="connsiteY9" fmla="*/ 1845697 h 3555187"/>
              <a:gd name="connsiteX10" fmla="*/ 2472538 w 7366407"/>
              <a:gd name="connsiteY10" fmla="*/ 409651 h 3555187"/>
              <a:gd name="connsiteX11" fmla="*/ 3160166 w 7366407"/>
              <a:gd name="connsiteY11" fmla="*/ 14630 h 3555187"/>
              <a:gd name="connsiteX12" fmla="*/ 3803904 w 7366407"/>
              <a:gd name="connsiteY12" fmla="*/ 387705 h 3555187"/>
              <a:gd name="connsiteX13" fmla="*/ 4462272 w 7366407"/>
              <a:gd name="connsiteY13" fmla="*/ 0 h 3555187"/>
              <a:gd name="connsiteX14" fmla="*/ 5113325 w 7366407"/>
              <a:gd name="connsiteY14" fmla="*/ 475488 h 3555187"/>
              <a:gd name="connsiteX15" fmla="*/ 4089196 w 7366407"/>
              <a:gd name="connsiteY15" fmla="*/ 1843431 h 3555187"/>
              <a:gd name="connsiteX16" fmla="*/ 5479085 w 7366407"/>
              <a:gd name="connsiteY16" fmla="*/ 1865376 h 3555187"/>
              <a:gd name="connsiteX17" fmla="*/ 5498920 w 7366407"/>
              <a:gd name="connsiteY17" fmla="*/ 1860327 h 3555187"/>
              <a:gd name="connsiteX18" fmla="*/ 5698541 w 7366407"/>
              <a:gd name="connsiteY18" fmla="*/ 2179929 h 3555187"/>
              <a:gd name="connsiteX19" fmla="*/ 5888736 w 7366407"/>
              <a:gd name="connsiteY19" fmla="*/ 29261 h 3555187"/>
              <a:gd name="connsiteX20" fmla="*/ 6166714 w 7366407"/>
              <a:gd name="connsiteY20" fmla="*/ 3489350 h 3555187"/>
              <a:gd name="connsiteX21" fmla="*/ 6510528 w 7366407"/>
              <a:gd name="connsiteY21" fmla="*/ 1331366 h 3555187"/>
              <a:gd name="connsiteX22" fmla="*/ 6620256 w 7366407"/>
              <a:gd name="connsiteY22" fmla="*/ 1880006 h 3555187"/>
              <a:gd name="connsiteX23" fmla="*/ 7366407 w 7366407"/>
              <a:gd name="connsiteY23" fmla="*/ 1887322 h 3555187"/>
              <a:gd name="connsiteX0" fmla="*/ 0 w 7366407"/>
              <a:gd name="connsiteY0" fmla="*/ 1865375 h 3555187"/>
              <a:gd name="connsiteX1" fmla="*/ 885139 w 7366407"/>
              <a:gd name="connsiteY1" fmla="*/ 1858061 h 3555187"/>
              <a:gd name="connsiteX2" fmla="*/ 1009498 w 7366407"/>
              <a:gd name="connsiteY2" fmla="*/ 1228954 h 3555187"/>
              <a:gd name="connsiteX3" fmla="*/ 1294790 w 7366407"/>
              <a:gd name="connsiteY3" fmla="*/ 3555187 h 3555187"/>
              <a:gd name="connsiteX4" fmla="*/ 1587398 w 7366407"/>
              <a:gd name="connsiteY4" fmla="*/ 7315 h 3555187"/>
              <a:gd name="connsiteX5" fmla="*/ 1799539 w 7366407"/>
              <a:gd name="connsiteY5" fmla="*/ 2216505 h 3555187"/>
              <a:gd name="connsiteX6" fmla="*/ 2011680 w 7366407"/>
              <a:gd name="connsiteY6" fmla="*/ 1872691 h 3555187"/>
              <a:gd name="connsiteX7" fmla="*/ 2038831 w 7366407"/>
              <a:gd name="connsiteY7" fmla="*/ 1838381 h 3555187"/>
              <a:gd name="connsiteX8" fmla="*/ 3518611 w 7366407"/>
              <a:gd name="connsiteY8" fmla="*/ 1843430 h 3555187"/>
              <a:gd name="connsiteX9" fmla="*/ 3501871 w 7366407"/>
              <a:gd name="connsiteY9" fmla="*/ 1845697 h 3555187"/>
              <a:gd name="connsiteX10" fmla="*/ 2472538 w 7366407"/>
              <a:gd name="connsiteY10" fmla="*/ 409651 h 3555187"/>
              <a:gd name="connsiteX11" fmla="*/ 3160166 w 7366407"/>
              <a:gd name="connsiteY11" fmla="*/ 14630 h 3555187"/>
              <a:gd name="connsiteX12" fmla="*/ 3803904 w 7366407"/>
              <a:gd name="connsiteY12" fmla="*/ 387705 h 3555187"/>
              <a:gd name="connsiteX13" fmla="*/ 4462272 w 7366407"/>
              <a:gd name="connsiteY13" fmla="*/ 0 h 3555187"/>
              <a:gd name="connsiteX14" fmla="*/ 5113325 w 7366407"/>
              <a:gd name="connsiteY14" fmla="*/ 475488 h 3555187"/>
              <a:gd name="connsiteX15" fmla="*/ 4089196 w 7366407"/>
              <a:gd name="connsiteY15" fmla="*/ 1843431 h 3555187"/>
              <a:gd name="connsiteX16" fmla="*/ 5479085 w 7366407"/>
              <a:gd name="connsiteY16" fmla="*/ 1865376 h 3555187"/>
              <a:gd name="connsiteX17" fmla="*/ 5498920 w 7366407"/>
              <a:gd name="connsiteY17" fmla="*/ 1860327 h 3555187"/>
              <a:gd name="connsiteX18" fmla="*/ 5698541 w 7366407"/>
              <a:gd name="connsiteY18" fmla="*/ 2179929 h 3555187"/>
              <a:gd name="connsiteX19" fmla="*/ 5888736 w 7366407"/>
              <a:gd name="connsiteY19" fmla="*/ 29261 h 3555187"/>
              <a:gd name="connsiteX20" fmla="*/ 6166714 w 7366407"/>
              <a:gd name="connsiteY20" fmla="*/ 3489350 h 3555187"/>
              <a:gd name="connsiteX21" fmla="*/ 6510528 w 7366407"/>
              <a:gd name="connsiteY21" fmla="*/ 1331366 h 3555187"/>
              <a:gd name="connsiteX22" fmla="*/ 6620256 w 7366407"/>
              <a:gd name="connsiteY22" fmla="*/ 1880006 h 3555187"/>
              <a:gd name="connsiteX23" fmla="*/ 7366407 w 7366407"/>
              <a:gd name="connsiteY23" fmla="*/ 1887322 h 3555187"/>
              <a:gd name="connsiteX0" fmla="*/ 0 w 7366407"/>
              <a:gd name="connsiteY0" fmla="*/ 1865375 h 3555187"/>
              <a:gd name="connsiteX1" fmla="*/ 885139 w 7366407"/>
              <a:gd name="connsiteY1" fmla="*/ 1858061 h 3555187"/>
              <a:gd name="connsiteX2" fmla="*/ 1009498 w 7366407"/>
              <a:gd name="connsiteY2" fmla="*/ 1228954 h 3555187"/>
              <a:gd name="connsiteX3" fmla="*/ 1294790 w 7366407"/>
              <a:gd name="connsiteY3" fmla="*/ 3555187 h 3555187"/>
              <a:gd name="connsiteX4" fmla="*/ 1587398 w 7366407"/>
              <a:gd name="connsiteY4" fmla="*/ 7315 h 3555187"/>
              <a:gd name="connsiteX5" fmla="*/ 1799539 w 7366407"/>
              <a:gd name="connsiteY5" fmla="*/ 2216505 h 3555187"/>
              <a:gd name="connsiteX6" fmla="*/ 2038831 w 7366407"/>
              <a:gd name="connsiteY6" fmla="*/ 1838381 h 3555187"/>
              <a:gd name="connsiteX7" fmla="*/ 3518611 w 7366407"/>
              <a:gd name="connsiteY7" fmla="*/ 1843430 h 3555187"/>
              <a:gd name="connsiteX8" fmla="*/ 3501871 w 7366407"/>
              <a:gd name="connsiteY8" fmla="*/ 1845697 h 3555187"/>
              <a:gd name="connsiteX9" fmla="*/ 2472538 w 7366407"/>
              <a:gd name="connsiteY9" fmla="*/ 409651 h 3555187"/>
              <a:gd name="connsiteX10" fmla="*/ 3160166 w 7366407"/>
              <a:gd name="connsiteY10" fmla="*/ 14630 h 3555187"/>
              <a:gd name="connsiteX11" fmla="*/ 3803904 w 7366407"/>
              <a:gd name="connsiteY11" fmla="*/ 387705 h 3555187"/>
              <a:gd name="connsiteX12" fmla="*/ 4462272 w 7366407"/>
              <a:gd name="connsiteY12" fmla="*/ 0 h 3555187"/>
              <a:gd name="connsiteX13" fmla="*/ 5113325 w 7366407"/>
              <a:gd name="connsiteY13" fmla="*/ 475488 h 3555187"/>
              <a:gd name="connsiteX14" fmla="*/ 4089196 w 7366407"/>
              <a:gd name="connsiteY14" fmla="*/ 1843431 h 3555187"/>
              <a:gd name="connsiteX15" fmla="*/ 5479085 w 7366407"/>
              <a:gd name="connsiteY15" fmla="*/ 1865376 h 3555187"/>
              <a:gd name="connsiteX16" fmla="*/ 5498920 w 7366407"/>
              <a:gd name="connsiteY16" fmla="*/ 1860327 h 3555187"/>
              <a:gd name="connsiteX17" fmla="*/ 5698541 w 7366407"/>
              <a:gd name="connsiteY17" fmla="*/ 2179929 h 3555187"/>
              <a:gd name="connsiteX18" fmla="*/ 5888736 w 7366407"/>
              <a:gd name="connsiteY18" fmla="*/ 29261 h 3555187"/>
              <a:gd name="connsiteX19" fmla="*/ 6166714 w 7366407"/>
              <a:gd name="connsiteY19" fmla="*/ 3489350 h 3555187"/>
              <a:gd name="connsiteX20" fmla="*/ 6510528 w 7366407"/>
              <a:gd name="connsiteY20" fmla="*/ 1331366 h 3555187"/>
              <a:gd name="connsiteX21" fmla="*/ 6620256 w 7366407"/>
              <a:gd name="connsiteY21" fmla="*/ 1880006 h 3555187"/>
              <a:gd name="connsiteX22" fmla="*/ 7366407 w 7366407"/>
              <a:gd name="connsiteY22" fmla="*/ 1887322 h 3555187"/>
              <a:gd name="connsiteX0" fmla="*/ 0 w 7366407"/>
              <a:gd name="connsiteY0" fmla="*/ 1865375 h 3555187"/>
              <a:gd name="connsiteX1" fmla="*/ 885139 w 7366407"/>
              <a:gd name="connsiteY1" fmla="*/ 1858061 h 3555187"/>
              <a:gd name="connsiteX2" fmla="*/ 1009498 w 7366407"/>
              <a:gd name="connsiteY2" fmla="*/ 1228954 h 3555187"/>
              <a:gd name="connsiteX3" fmla="*/ 1294790 w 7366407"/>
              <a:gd name="connsiteY3" fmla="*/ 3555187 h 3555187"/>
              <a:gd name="connsiteX4" fmla="*/ 1587398 w 7366407"/>
              <a:gd name="connsiteY4" fmla="*/ 7315 h 3555187"/>
              <a:gd name="connsiteX5" fmla="*/ 1799539 w 7366407"/>
              <a:gd name="connsiteY5" fmla="*/ 2216505 h 3555187"/>
              <a:gd name="connsiteX6" fmla="*/ 2038831 w 7366407"/>
              <a:gd name="connsiteY6" fmla="*/ 1838381 h 3555187"/>
              <a:gd name="connsiteX7" fmla="*/ 3518611 w 7366407"/>
              <a:gd name="connsiteY7" fmla="*/ 1843430 h 3555187"/>
              <a:gd name="connsiteX8" fmla="*/ 3501871 w 7366407"/>
              <a:gd name="connsiteY8" fmla="*/ 1845697 h 3555187"/>
              <a:gd name="connsiteX9" fmla="*/ 2472538 w 7366407"/>
              <a:gd name="connsiteY9" fmla="*/ 409651 h 3555187"/>
              <a:gd name="connsiteX10" fmla="*/ 3160166 w 7366407"/>
              <a:gd name="connsiteY10" fmla="*/ 14630 h 3555187"/>
              <a:gd name="connsiteX11" fmla="*/ 3803904 w 7366407"/>
              <a:gd name="connsiteY11" fmla="*/ 387705 h 3555187"/>
              <a:gd name="connsiteX12" fmla="*/ 4462272 w 7366407"/>
              <a:gd name="connsiteY12" fmla="*/ 0 h 3555187"/>
              <a:gd name="connsiteX13" fmla="*/ 5113325 w 7366407"/>
              <a:gd name="connsiteY13" fmla="*/ 475488 h 3555187"/>
              <a:gd name="connsiteX14" fmla="*/ 4089196 w 7366407"/>
              <a:gd name="connsiteY14" fmla="*/ 1843431 h 3555187"/>
              <a:gd name="connsiteX15" fmla="*/ 5479085 w 7366407"/>
              <a:gd name="connsiteY15" fmla="*/ 1865376 h 3555187"/>
              <a:gd name="connsiteX16" fmla="*/ 5498920 w 7366407"/>
              <a:gd name="connsiteY16" fmla="*/ 1860327 h 3555187"/>
              <a:gd name="connsiteX17" fmla="*/ 5793639 w 7366407"/>
              <a:gd name="connsiteY17" fmla="*/ 2238451 h 3555187"/>
              <a:gd name="connsiteX18" fmla="*/ 5888736 w 7366407"/>
              <a:gd name="connsiteY18" fmla="*/ 29261 h 3555187"/>
              <a:gd name="connsiteX19" fmla="*/ 6166714 w 7366407"/>
              <a:gd name="connsiteY19" fmla="*/ 3489350 h 3555187"/>
              <a:gd name="connsiteX20" fmla="*/ 6510528 w 7366407"/>
              <a:gd name="connsiteY20" fmla="*/ 1331366 h 3555187"/>
              <a:gd name="connsiteX21" fmla="*/ 6620256 w 7366407"/>
              <a:gd name="connsiteY21" fmla="*/ 1880006 h 3555187"/>
              <a:gd name="connsiteX22" fmla="*/ 7366407 w 7366407"/>
              <a:gd name="connsiteY22" fmla="*/ 1887322 h 3555187"/>
              <a:gd name="connsiteX0" fmla="*/ 0 w 7366407"/>
              <a:gd name="connsiteY0" fmla="*/ 1872690 h 3562502"/>
              <a:gd name="connsiteX1" fmla="*/ 885139 w 7366407"/>
              <a:gd name="connsiteY1" fmla="*/ 1865376 h 3562502"/>
              <a:gd name="connsiteX2" fmla="*/ 1009498 w 7366407"/>
              <a:gd name="connsiteY2" fmla="*/ 1236269 h 3562502"/>
              <a:gd name="connsiteX3" fmla="*/ 1294790 w 7366407"/>
              <a:gd name="connsiteY3" fmla="*/ 3562502 h 3562502"/>
              <a:gd name="connsiteX4" fmla="*/ 1587398 w 7366407"/>
              <a:gd name="connsiteY4" fmla="*/ 14630 h 3562502"/>
              <a:gd name="connsiteX5" fmla="*/ 1799539 w 7366407"/>
              <a:gd name="connsiteY5" fmla="*/ 2223820 h 3562502"/>
              <a:gd name="connsiteX6" fmla="*/ 2038831 w 7366407"/>
              <a:gd name="connsiteY6" fmla="*/ 1845696 h 3562502"/>
              <a:gd name="connsiteX7" fmla="*/ 3518611 w 7366407"/>
              <a:gd name="connsiteY7" fmla="*/ 1850745 h 3562502"/>
              <a:gd name="connsiteX8" fmla="*/ 3501871 w 7366407"/>
              <a:gd name="connsiteY8" fmla="*/ 1853012 h 3562502"/>
              <a:gd name="connsiteX9" fmla="*/ 2472538 w 7366407"/>
              <a:gd name="connsiteY9" fmla="*/ 416966 h 3562502"/>
              <a:gd name="connsiteX10" fmla="*/ 3160166 w 7366407"/>
              <a:gd name="connsiteY10" fmla="*/ 21945 h 3562502"/>
              <a:gd name="connsiteX11" fmla="*/ 3803904 w 7366407"/>
              <a:gd name="connsiteY11" fmla="*/ 395020 h 3562502"/>
              <a:gd name="connsiteX12" fmla="*/ 4462272 w 7366407"/>
              <a:gd name="connsiteY12" fmla="*/ 7315 h 3562502"/>
              <a:gd name="connsiteX13" fmla="*/ 5113325 w 7366407"/>
              <a:gd name="connsiteY13" fmla="*/ 482803 h 3562502"/>
              <a:gd name="connsiteX14" fmla="*/ 4089196 w 7366407"/>
              <a:gd name="connsiteY14" fmla="*/ 1850746 h 3562502"/>
              <a:gd name="connsiteX15" fmla="*/ 5479085 w 7366407"/>
              <a:gd name="connsiteY15" fmla="*/ 1872691 h 3562502"/>
              <a:gd name="connsiteX16" fmla="*/ 5498920 w 7366407"/>
              <a:gd name="connsiteY16" fmla="*/ 1867642 h 3562502"/>
              <a:gd name="connsiteX17" fmla="*/ 5793639 w 7366407"/>
              <a:gd name="connsiteY17" fmla="*/ 2245766 h 3562502"/>
              <a:gd name="connsiteX18" fmla="*/ 5976519 w 7366407"/>
              <a:gd name="connsiteY18" fmla="*/ 0 h 3562502"/>
              <a:gd name="connsiteX19" fmla="*/ 6166714 w 7366407"/>
              <a:gd name="connsiteY19" fmla="*/ 3496665 h 3562502"/>
              <a:gd name="connsiteX20" fmla="*/ 6510528 w 7366407"/>
              <a:gd name="connsiteY20" fmla="*/ 1338681 h 3562502"/>
              <a:gd name="connsiteX21" fmla="*/ 6620256 w 7366407"/>
              <a:gd name="connsiteY21" fmla="*/ 1887321 h 3562502"/>
              <a:gd name="connsiteX22" fmla="*/ 7366407 w 7366407"/>
              <a:gd name="connsiteY22" fmla="*/ 1894637 h 3562502"/>
              <a:gd name="connsiteX0" fmla="*/ 0 w 7366407"/>
              <a:gd name="connsiteY0" fmla="*/ 1872690 h 3562502"/>
              <a:gd name="connsiteX1" fmla="*/ 885139 w 7366407"/>
              <a:gd name="connsiteY1" fmla="*/ 1865376 h 3562502"/>
              <a:gd name="connsiteX2" fmla="*/ 1009498 w 7366407"/>
              <a:gd name="connsiteY2" fmla="*/ 1236269 h 3562502"/>
              <a:gd name="connsiteX3" fmla="*/ 1294790 w 7366407"/>
              <a:gd name="connsiteY3" fmla="*/ 3562502 h 3562502"/>
              <a:gd name="connsiteX4" fmla="*/ 1587398 w 7366407"/>
              <a:gd name="connsiteY4" fmla="*/ 14630 h 3562502"/>
              <a:gd name="connsiteX5" fmla="*/ 1799539 w 7366407"/>
              <a:gd name="connsiteY5" fmla="*/ 2223820 h 3562502"/>
              <a:gd name="connsiteX6" fmla="*/ 2038831 w 7366407"/>
              <a:gd name="connsiteY6" fmla="*/ 1845696 h 3562502"/>
              <a:gd name="connsiteX7" fmla="*/ 3518611 w 7366407"/>
              <a:gd name="connsiteY7" fmla="*/ 1850745 h 3562502"/>
              <a:gd name="connsiteX8" fmla="*/ 3501871 w 7366407"/>
              <a:gd name="connsiteY8" fmla="*/ 1853012 h 3562502"/>
              <a:gd name="connsiteX9" fmla="*/ 2472538 w 7366407"/>
              <a:gd name="connsiteY9" fmla="*/ 416966 h 3562502"/>
              <a:gd name="connsiteX10" fmla="*/ 3160166 w 7366407"/>
              <a:gd name="connsiteY10" fmla="*/ 21945 h 3562502"/>
              <a:gd name="connsiteX11" fmla="*/ 3803904 w 7366407"/>
              <a:gd name="connsiteY11" fmla="*/ 395020 h 3562502"/>
              <a:gd name="connsiteX12" fmla="*/ 4462272 w 7366407"/>
              <a:gd name="connsiteY12" fmla="*/ 7315 h 3562502"/>
              <a:gd name="connsiteX13" fmla="*/ 5113325 w 7366407"/>
              <a:gd name="connsiteY13" fmla="*/ 482803 h 3562502"/>
              <a:gd name="connsiteX14" fmla="*/ 4089196 w 7366407"/>
              <a:gd name="connsiteY14" fmla="*/ 1850746 h 3562502"/>
              <a:gd name="connsiteX15" fmla="*/ 5479085 w 7366407"/>
              <a:gd name="connsiteY15" fmla="*/ 1872691 h 3562502"/>
              <a:gd name="connsiteX16" fmla="*/ 5498920 w 7366407"/>
              <a:gd name="connsiteY16" fmla="*/ 1867642 h 3562502"/>
              <a:gd name="connsiteX17" fmla="*/ 5793639 w 7366407"/>
              <a:gd name="connsiteY17" fmla="*/ 2245766 h 3562502"/>
              <a:gd name="connsiteX18" fmla="*/ 6005780 w 7366407"/>
              <a:gd name="connsiteY18" fmla="*/ 0 h 3562502"/>
              <a:gd name="connsiteX19" fmla="*/ 6166714 w 7366407"/>
              <a:gd name="connsiteY19" fmla="*/ 3496665 h 3562502"/>
              <a:gd name="connsiteX20" fmla="*/ 6510528 w 7366407"/>
              <a:gd name="connsiteY20" fmla="*/ 1338681 h 3562502"/>
              <a:gd name="connsiteX21" fmla="*/ 6620256 w 7366407"/>
              <a:gd name="connsiteY21" fmla="*/ 1887321 h 3562502"/>
              <a:gd name="connsiteX22" fmla="*/ 7366407 w 7366407"/>
              <a:gd name="connsiteY22" fmla="*/ 1894637 h 3562502"/>
              <a:gd name="connsiteX0" fmla="*/ 0 w 7366407"/>
              <a:gd name="connsiteY0" fmla="*/ 1872690 h 3562502"/>
              <a:gd name="connsiteX1" fmla="*/ 885139 w 7366407"/>
              <a:gd name="connsiteY1" fmla="*/ 1865376 h 3562502"/>
              <a:gd name="connsiteX2" fmla="*/ 1009498 w 7366407"/>
              <a:gd name="connsiteY2" fmla="*/ 1236269 h 3562502"/>
              <a:gd name="connsiteX3" fmla="*/ 1294790 w 7366407"/>
              <a:gd name="connsiteY3" fmla="*/ 3562502 h 3562502"/>
              <a:gd name="connsiteX4" fmla="*/ 1587398 w 7366407"/>
              <a:gd name="connsiteY4" fmla="*/ 14630 h 3562502"/>
              <a:gd name="connsiteX5" fmla="*/ 1799539 w 7366407"/>
              <a:gd name="connsiteY5" fmla="*/ 2223820 h 3562502"/>
              <a:gd name="connsiteX6" fmla="*/ 2038831 w 7366407"/>
              <a:gd name="connsiteY6" fmla="*/ 1845696 h 3562502"/>
              <a:gd name="connsiteX7" fmla="*/ 3518611 w 7366407"/>
              <a:gd name="connsiteY7" fmla="*/ 1850745 h 3562502"/>
              <a:gd name="connsiteX8" fmla="*/ 3501871 w 7366407"/>
              <a:gd name="connsiteY8" fmla="*/ 1853012 h 3562502"/>
              <a:gd name="connsiteX9" fmla="*/ 2472538 w 7366407"/>
              <a:gd name="connsiteY9" fmla="*/ 416966 h 3562502"/>
              <a:gd name="connsiteX10" fmla="*/ 3160166 w 7366407"/>
              <a:gd name="connsiteY10" fmla="*/ 21945 h 3562502"/>
              <a:gd name="connsiteX11" fmla="*/ 3803904 w 7366407"/>
              <a:gd name="connsiteY11" fmla="*/ 395020 h 3562502"/>
              <a:gd name="connsiteX12" fmla="*/ 4462272 w 7366407"/>
              <a:gd name="connsiteY12" fmla="*/ 7315 h 3562502"/>
              <a:gd name="connsiteX13" fmla="*/ 5113325 w 7366407"/>
              <a:gd name="connsiteY13" fmla="*/ 482803 h 3562502"/>
              <a:gd name="connsiteX14" fmla="*/ 4089196 w 7366407"/>
              <a:gd name="connsiteY14" fmla="*/ 1850746 h 3562502"/>
              <a:gd name="connsiteX15" fmla="*/ 5479085 w 7366407"/>
              <a:gd name="connsiteY15" fmla="*/ 1872691 h 3562502"/>
              <a:gd name="connsiteX16" fmla="*/ 5498920 w 7366407"/>
              <a:gd name="connsiteY16" fmla="*/ 1867642 h 3562502"/>
              <a:gd name="connsiteX17" fmla="*/ 5793639 w 7366407"/>
              <a:gd name="connsiteY17" fmla="*/ 2245766 h 3562502"/>
              <a:gd name="connsiteX18" fmla="*/ 6005780 w 7366407"/>
              <a:gd name="connsiteY18" fmla="*/ 0 h 3562502"/>
              <a:gd name="connsiteX19" fmla="*/ 6269127 w 7366407"/>
              <a:gd name="connsiteY19" fmla="*/ 3533241 h 3562502"/>
              <a:gd name="connsiteX20" fmla="*/ 6510528 w 7366407"/>
              <a:gd name="connsiteY20" fmla="*/ 1338681 h 3562502"/>
              <a:gd name="connsiteX21" fmla="*/ 6620256 w 7366407"/>
              <a:gd name="connsiteY21" fmla="*/ 1887321 h 3562502"/>
              <a:gd name="connsiteX22" fmla="*/ 7366407 w 7366407"/>
              <a:gd name="connsiteY22" fmla="*/ 1894637 h 3562502"/>
              <a:gd name="connsiteX0" fmla="*/ 0 w 7366407"/>
              <a:gd name="connsiteY0" fmla="*/ 1872690 h 3562502"/>
              <a:gd name="connsiteX1" fmla="*/ 885139 w 7366407"/>
              <a:gd name="connsiteY1" fmla="*/ 1865376 h 3562502"/>
              <a:gd name="connsiteX2" fmla="*/ 1009498 w 7366407"/>
              <a:gd name="connsiteY2" fmla="*/ 1236269 h 3562502"/>
              <a:gd name="connsiteX3" fmla="*/ 1294790 w 7366407"/>
              <a:gd name="connsiteY3" fmla="*/ 3562502 h 3562502"/>
              <a:gd name="connsiteX4" fmla="*/ 1587398 w 7366407"/>
              <a:gd name="connsiteY4" fmla="*/ 14630 h 3562502"/>
              <a:gd name="connsiteX5" fmla="*/ 1799539 w 7366407"/>
              <a:gd name="connsiteY5" fmla="*/ 2223820 h 3562502"/>
              <a:gd name="connsiteX6" fmla="*/ 2038831 w 7366407"/>
              <a:gd name="connsiteY6" fmla="*/ 1845696 h 3562502"/>
              <a:gd name="connsiteX7" fmla="*/ 3518611 w 7366407"/>
              <a:gd name="connsiteY7" fmla="*/ 1850745 h 3562502"/>
              <a:gd name="connsiteX8" fmla="*/ 3501871 w 7366407"/>
              <a:gd name="connsiteY8" fmla="*/ 1853012 h 3562502"/>
              <a:gd name="connsiteX9" fmla="*/ 2472538 w 7366407"/>
              <a:gd name="connsiteY9" fmla="*/ 416966 h 3562502"/>
              <a:gd name="connsiteX10" fmla="*/ 3160166 w 7366407"/>
              <a:gd name="connsiteY10" fmla="*/ 21945 h 3562502"/>
              <a:gd name="connsiteX11" fmla="*/ 3803904 w 7366407"/>
              <a:gd name="connsiteY11" fmla="*/ 395020 h 3562502"/>
              <a:gd name="connsiteX12" fmla="*/ 4462272 w 7366407"/>
              <a:gd name="connsiteY12" fmla="*/ 7315 h 3562502"/>
              <a:gd name="connsiteX13" fmla="*/ 5113325 w 7366407"/>
              <a:gd name="connsiteY13" fmla="*/ 482803 h 3562502"/>
              <a:gd name="connsiteX14" fmla="*/ 4089196 w 7366407"/>
              <a:gd name="connsiteY14" fmla="*/ 1850746 h 3562502"/>
              <a:gd name="connsiteX15" fmla="*/ 5479085 w 7366407"/>
              <a:gd name="connsiteY15" fmla="*/ 1872691 h 3562502"/>
              <a:gd name="connsiteX16" fmla="*/ 5498920 w 7366407"/>
              <a:gd name="connsiteY16" fmla="*/ 1867642 h 3562502"/>
              <a:gd name="connsiteX17" fmla="*/ 5793639 w 7366407"/>
              <a:gd name="connsiteY17" fmla="*/ 2245766 h 3562502"/>
              <a:gd name="connsiteX18" fmla="*/ 6005780 w 7366407"/>
              <a:gd name="connsiteY18" fmla="*/ 0 h 3562502"/>
              <a:gd name="connsiteX19" fmla="*/ 6269127 w 7366407"/>
              <a:gd name="connsiteY19" fmla="*/ 3533241 h 3562502"/>
              <a:gd name="connsiteX20" fmla="*/ 6561734 w 7366407"/>
              <a:gd name="connsiteY20" fmla="*/ 1265529 h 3562502"/>
              <a:gd name="connsiteX21" fmla="*/ 6620256 w 7366407"/>
              <a:gd name="connsiteY21" fmla="*/ 1887321 h 3562502"/>
              <a:gd name="connsiteX22" fmla="*/ 7366407 w 7366407"/>
              <a:gd name="connsiteY22" fmla="*/ 1894637 h 3562502"/>
              <a:gd name="connsiteX0" fmla="*/ 0 w 7366407"/>
              <a:gd name="connsiteY0" fmla="*/ 1872690 h 3562502"/>
              <a:gd name="connsiteX1" fmla="*/ 885139 w 7366407"/>
              <a:gd name="connsiteY1" fmla="*/ 1865376 h 3562502"/>
              <a:gd name="connsiteX2" fmla="*/ 1009498 w 7366407"/>
              <a:gd name="connsiteY2" fmla="*/ 1236269 h 3562502"/>
              <a:gd name="connsiteX3" fmla="*/ 1294790 w 7366407"/>
              <a:gd name="connsiteY3" fmla="*/ 3562502 h 3562502"/>
              <a:gd name="connsiteX4" fmla="*/ 1587398 w 7366407"/>
              <a:gd name="connsiteY4" fmla="*/ 14630 h 3562502"/>
              <a:gd name="connsiteX5" fmla="*/ 1799539 w 7366407"/>
              <a:gd name="connsiteY5" fmla="*/ 2223820 h 3562502"/>
              <a:gd name="connsiteX6" fmla="*/ 2038831 w 7366407"/>
              <a:gd name="connsiteY6" fmla="*/ 1845696 h 3562502"/>
              <a:gd name="connsiteX7" fmla="*/ 3518611 w 7366407"/>
              <a:gd name="connsiteY7" fmla="*/ 1850745 h 3562502"/>
              <a:gd name="connsiteX8" fmla="*/ 3501871 w 7366407"/>
              <a:gd name="connsiteY8" fmla="*/ 1853012 h 3562502"/>
              <a:gd name="connsiteX9" fmla="*/ 2472538 w 7366407"/>
              <a:gd name="connsiteY9" fmla="*/ 416966 h 3562502"/>
              <a:gd name="connsiteX10" fmla="*/ 3160166 w 7366407"/>
              <a:gd name="connsiteY10" fmla="*/ 21945 h 3562502"/>
              <a:gd name="connsiteX11" fmla="*/ 3803904 w 7366407"/>
              <a:gd name="connsiteY11" fmla="*/ 395020 h 3562502"/>
              <a:gd name="connsiteX12" fmla="*/ 4462272 w 7366407"/>
              <a:gd name="connsiteY12" fmla="*/ 7315 h 3562502"/>
              <a:gd name="connsiteX13" fmla="*/ 5113325 w 7366407"/>
              <a:gd name="connsiteY13" fmla="*/ 482803 h 3562502"/>
              <a:gd name="connsiteX14" fmla="*/ 4089196 w 7366407"/>
              <a:gd name="connsiteY14" fmla="*/ 1850746 h 3562502"/>
              <a:gd name="connsiteX15" fmla="*/ 5479085 w 7366407"/>
              <a:gd name="connsiteY15" fmla="*/ 1872691 h 3562502"/>
              <a:gd name="connsiteX16" fmla="*/ 5498920 w 7366407"/>
              <a:gd name="connsiteY16" fmla="*/ 1867642 h 3562502"/>
              <a:gd name="connsiteX17" fmla="*/ 5793639 w 7366407"/>
              <a:gd name="connsiteY17" fmla="*/ 2245766 h 3562502"/>
              <a:gd name="connsiteX18" fmla="*/ 6005780 w 7366407"/>
              <a:gd name="connsiteY18" fmla="*/ 0 h 3562502"/>
              <a:gd name="connsiteX19" fmla="*/ 6269127 w 7366407"/>
              <a:gd name="connsiteY19" fmla="*/ 3533241 h 3562502"/>
              <a:gd name="connsiteX20" fmla="*/ 6590995 w 7366407"/>
              <a:gd name="connsiteY20" fmla="*/ 1250899 h 3562502"/>
              <a:gd name="connsiteX21" fmla="*/ 6620256 w 7366407"/>
              <a:gd name="connsiteY21" fmla="*/ 1887321 h 3562502"/>
              <a:gd name="connsiteX22" fmla="*/ 7366407 w 7366407"/>
              <a:gd name="connsiteY22" fmla="*/ 1894637 h 3562502"/>
              <a:gd name="connsiteX0" fmla="*/ 0 w 7366407"/>
              <a:gd name="connsiteY0" fmla="*/ 1872690 h 3562502"/>
              <a:gd name="connsiteX1" fmla="*/ 885139 w 7366407"/>
              <a:gd name="connsiteY1" fmla="*/ 1865376 h 3562502"/>
              <a:gd name="connsiteX2" fmla="*/ 1009498 w 7366407"/>
              <a:gd name="connsiteY2" fmla="*/ 1236269 h 3562502"/>
              <a:gd name="connsiteX3" fmla="*/ 1294790 w 7366407"/>
              <a:gd name="connsiteY3" fmla="*/ 3562502 h 3562502"/>
              <a:gd name="connsiteX4" fmla="*/ 1587398 w 7366407"/>
              <a:gd name="connsiteY4" fmla="*/ 14630 h 3562502"/>
              <a:gd name="connsiteX5" fmla="*/ 1799539 w 7366407"/>
              <a:gd name="connsiteY5" fmla="*/ 2223820 h 3562502"/>
              <a:gd name="connsiteX6" fmla="*/ 2038831 w 7366407"/>
              <a:gd name="connsiteY6" fmla="*/ 1845696 h 3562502"/>
              <a:gd name="connsiteX7" fmla="*/ 3518611 w 7366407"/>
              <a:gd name="connsiteY7" fmla="*/ 1850745 h 3562502"/>
              <a:gd name="connsiteX8" fmla="*/ 3501871 w 7366407"/>
              <a:gd name="connsiteY8" fmla="*/ 1853012 h 3562502"/>
              <a:gd name="connsiteX9" fmla="*/ 2472538 w 7366407"/>
              <a:gd name="connsiteY9" fmla="*/ 416966 h 3562502"/>
              <a:gd name="connsiteX10" fmla="*/ 3160166 w 7366407"/>
              <a:gd name="connsiteY10" fmla="*/ 21945 h 3562502"/>
              <a:gd name="connsiteX11" fmla="*/ 3803904 w 7366407"/>
              <a:gd name="connsiteY11" fmla="*/ 395020 h 3562502"/>
              <a:gd name="connsiteX12" fmla="*/ 4462272 w 7366407"/>
              <a:gd name="connsiteY12" fmla="*/ 7315 h 3562502"/>
              <a:gd name="connsiteX13" fmla="*/ 5113325 w 7366407"/>
              <a:gd name="connsiteY13" fmla="*/ 482803 h 3562502"/>
              <a:gd name="connsiteX14" fmla="*/ 4089196 w 7366407"/>
              <a:gd name="connsiteY14" fmla="*/ 1850746 h 3562502"/>
              <a:gd name="connsiteX15" fmla="*/ 5479085 w 7366407"/>
              <a:gd name="connsiteY15" fmla="*/ 1872691 h 3562502"/>
              <a:gd name="connsiteX16" fmla="*/ 5498920 w 7366407"/>
              <a:gd name="connsiteY16" fmla="*/ 1867642 h 3562502"/>
              <a:gd name="connsiteX17" fmla="*/ 5793639 w 7366407"/>
              <a:gd name="connsiteY17" fmla="*/ 2245766 h 3562502"/>
              <a:gd name="connsiteX18" fmla="*/ 6005780 w 7366407"/>
              <a:gd name="connsiteY18" fmla="*/ 0 h 3562502"/>
              <a:gd name="connsiteX19" fmla="*/ 6269127 w 7366407"/>
              <a:gd name="connsiteY19" fmla="*/ 3533241 h 3562502"/>
              <a:gd name="connsiteX20" fmla="*/ 6590995 w 7366407"/>
              <a:gd name="connsiteY20" fmla="*/ 1250899 h 3562502"/>
              <a:gd name="connsiteX21" fmla="*/ 6686093 w 7366407"/>
              <a:gd name="connsiteY21" fmla="*/ 1894636 h 3562502"/>
              <a:gd name="connsiteX22" fmla="*/ 7366407 w 7366407"/>
              <a:gd name="connsiteY22" fmla="*/ 1894637 h 3562502"/>
              <a:gd name="connsiteX0" fmla="*/ 0 w 7366407"/>
              <a:gd name="connsiteY0" fmla="*/ 1872690 h 3562502"/>
              <a:gd name="connsiteX1" fmla="*/ 907085 w 7366407"/>
              <a:gd name="connsiteY1" fmla="*/ 1865376 h 3562502"/>
              <a:gd name="connsiteX2" fmla="*/ 1009498 w 7366407"/>
              <a:gd name="connsiteY2" fmla="*/ 1236269 h 3562502"/>
              <a:gd name="connsiteX3" fmla="*/ 1294790 w 7366407"/>
              <a:gd name="connsiteY3" fmla="*/ 3562502 h 3562502"/>
              <a:gd name="connsiteX4" fmla="*/ 1587398 w 7366407"/>
              <a:gd name="connsiteY4" fmla="*/ 14630 h 3562502"/>
              <a:gd name="connsiteX5" fmla="*/ 1799539 w 7366407"/>
              <a:gd name="connsiteY5" fmla="*/ 2223820 h 3562502"/>
              <a:gd name="connsiteX6" fmla="*/ 2038831 w 7366407"/>
              <a:gd name="connsiteY6" fmla="*/ 1845696 h 3562502"/>
              <a:gd name="connsiteX7" fmla="*/ 3518611 w 7366407"/>
              <a:gd name="connsiteY7" fmla="*/ 1850745 h 3562502"/>
              <a:gd name="connsiteX8" fmla="*/ 3501871 w 7366407"/>
              <a:gd name="connsiteY8" fmla="*/ 1853012 h 3562502"/>
              <a:gd name="connsiteX9" fmla="*/ 2472538 w 7366407"/>
              <a:gd name="connsiteY9" fmla="*/ 416966 h 3562502"/>
              <a:gd name="connsiteX10" fmla="*/ 3160166 w 7366407"/>
              <a:gd name="connsiteY10" fmla="*/ 21945 h 3562502"/>
              <a:gd name="connsiteX11" fmla="*/ 3803904 w 7366407"/>
              <a:gd name="connsiteY11" fmla="*/ 395020 h 3562502"/>
              <a:gd name="connsiteX12" fmla="*/ 4462272 w 7366407"/>
              <a:gd name="connsiteY12" fmla="*/ 7315 h 3562502"/>
              <a:gd name="connsiteX13" fmla="*/ 5113325 w 7366407"/>
              <a:gd name="connsiteY13" fmla="*/ 482803 h 3562502"/>
              <a:gd name="connsiteX14" fmla="*/ 4089196 w 7366407"/>
              <a:gd name="connsiteY14" fmla="*/ 1850746 h 3562502"/>
              <a:gd name="connsiteX15" fmla="*/ 5479085 w 7366407"/>
              <a:gd name="connsiteY15" fmla="*/ 1872691 h 3562502"/>
              <a:gd name="connsiteX16" fmla="*/ 5498920 w 7366407"/>
              <a:gd name="connsiteY16" fmla="*/ 1867642 h 3562502"/>
              <a:gd name="connsiteX17" fmla="*/ 5793639 w 7366407"/>
              <a:gd name="connsiteY17" fmla="*/ 2245766 h 3562502"/>
              <a:gd name="connsiteX18" fmla="*/ 6005780 w 7366407"/>
              <a:gd name="connsiteY18" fmla="*/ 0 h 3562502"/>
              <a:gd name="connsiteX19" fmla="*/ 6269127 w 7366407"/>
              <a:gd name="connsiteY19" fmla="*/ 3533241 h 3562502"/>
              <a:gd name="connsiteX20" fmla="*/ 6590995 w 7366407"/>
              <a:gd name="connsiteY20" fmla="*/ 1250899 h 3562502"/>
              <a:gd name="connsiteX21" fmla="*/ 6686093 w 7366407"/>
              <a:gd name="connsiteY21" fmla="*/ 1894636 h 3562502"/>
              <a:gd name="connsiteX22" fmla="*/ 7366407 w 7366407"/>
              <a:gd name="connsiteY22" fmla="*/ 1894637 h 3562502"/>
              <a:gd name="connsiteX0" fmla="*/ 0 w 7366407"/>
              <a:gd name="connsiteY0" fmla="*/ 1872690 h 3562502"/>
              <a:gd name="connsiteX1" fmla="*/ 907085 w 7366407"/>
              <a:gd name="connsiteY1" fmla="*/ 1865376 h 3562502"/>
              <a:gd name="connsiteX2" fmla="*/ 1009498 w 7366407"/>
              <a:gd name="connsiteY2" fmla="*/ 1236269 h 3562502"/>
              <a:gd name="connsiteX3" fmla="*/ 1294790 w 7366407"/>
              <a:gd name="connsiteY3" fmla="*/ 3562502 h 3562502"/>
              <a:gd name="connsiteX4" fmla="*/ 1587398 w 7366407"/>
              <a:gd name="connsiteY4" fmla="*/ 14630 h 3562502"/>
              <a:gd name="connsiteX5" fmla="*/ 1799539 w 7366407"/>
              <a:gd name="connsiteY5" fmla="*/ 2223820 h 3562502"/>
              <a:gd name="connsiteX6" fmla="*/ 2038831 w 7366407"/>
              <a:gd name="connsiteY6" fmla="*/ 1874957 h 3562502"/>
              <a:gd name="connsiteX7" fmla="*/ 3518611 w 7366407"/>
              <a:gd name="connsiteY7" fmla="*/ 1850745 h 3562502"/>
              <a:gd name="connsiteX8" fmla="*/ 3501871 w 7366407"/>
              <a:gd name="connsiteY8" fmla="*/ 1853012 h 3562502"/>
              <a:gd name="connsiteX9" fmla="*/ 2472538 w 7366407"/>
              <a:gd name="connsiteY9" fmla="*/ 416966 h 3562502"/>
              <a:gd name="connsiteX10" fmla="*/ 3160166 w 7366407"/>
              <a:gd name="connsiteY10" fmla="*/ 21945 h 3562502"/>
              <a:gd name="connsiteX11" fmla="*/ 3803904 w 7366407"/>
              <a:gd name="connsiteY11" fmla="*/ 395020 h 3562502"/>
              <a:gd name="connsiteX12" fmla="*/ 4462272 w 7366407"/>
              <a:gd name="connsiteY12" fmla="*/ 7315 h 3562502"/>
              <a:gd name="connsiteX13" fmla="*/ 5113325 w 7366407"/>
              <a:gd name="connsiteY13" fmla="*/ 482803 h 3562502"/>
              <a:gd name="connsiteX14" fmla="*/ 4089196 w 7366407"/>
              <a:gd name="connsiteY14" fmla="*/ 1850746 h 3562502"/>
              <a:gd name="connsiteX15" fmla="*/ 5479085 w 7366407"/>
              <a:gd name="connsiteY15" fmla="*/ 1872691 h 3562502"/>
              <a:gd name="connsiteX16" fmla="*/ 5498920 w 7366407"/>
              <a:gd name="connsiteY16" fmla="*/ 1867642 h 3562502"/>
              <a:gd name="connsiteX17" fmla="*/ 5793639 w 7366407"/>
              <a:gd name="connsiteY17" fmla="*/ 2245766 h 3562502"/>
              <a:gd name="connsiteX18" fmla="*/ 6005780 w 7366407"/>
              <a:gd name="connsiteY18" fmla="*/ 0 h 3562502"/>
              <a:gd name="connsiteX19" fmla="*/ 6269127 w 7366407"/>
              <a:gd name="connsiteY19" fmla="*/ 3533241 h 3562502"/>
              <a:gd name="connsiteX20" fmla="*/ 6590995 w 7366407"/>
              <a:gd name="connsiteY20" fmla="*/ 1250899 h 3562502"/>
              <a:gd name="connsiteX21" fmla="*/ 6686093 w 7366407"/>
              <a:gd name="connsiteY21" fmla="*/ 1894636 h 3562502"/>
              <a:gd name="connsiteX22" fmla="*/ 7366407 w 7366407"/>
              <a:gd name="connsiteY22" fmla="*/ 1894637 h 3562502"/>
              <a:gd name="connsiteX0" fmla="*/ 0 w 7366407"/>
              <a:gd name="connsiteY0" fmla="*/ 1872690 h 3562502"/>
              <a:gd name="connsiteX1" fmla="*/ 907085 w 7366407"/>
              <a:gd name="connsiteY1" fmla="*/ 1865376 h 3562502"/>
              <a:gd name="connsiteX2" fmla="*/ 1009498 w 7366407"/>
              <a:gd name="connsiteY2" fmla="*/ 1236269 h 3562502"/>
              <a:gd name="connsiteX3" fmla="*/ 1294790 w 7366407"/>
              <a:gd name="connsiteY3" fmla="*/ 3562502 h 3562502"/>
              <a:gd name="connsiteX4" fmla="*/ 1587398 w 7366407"/>
              <a:gd name="connsiteY4" fmla="*/ 14630 h 3562502"/>
              <a:gd name="connsiteX5" fmla="*/ 1799539 w 7366407"/>
              <a:gd name="connsiteY5" fmla="*/ 2223820 h 3562502"/>
              <a:gd name="connsiteX6" fmla="*/ 2038831 w 7366407"/>
              <a:gd name="connsiteY6" fmla="*/ 1874957 h 3562502"/>
              <a:gd name="connsiteX7" fmla="*/ 3518611 w 7366407"/>
              <a:gd name="connsiteY7" fmla="*/ 1850745 h 3562502"/>
              <a:gd name="connsiteX8" fmla="*/ 3501871 w 7366407"/>
              <a:gd name="connsiteY8" fmla="*/ 1853012 h 3562502"/>
              <a:gd name="connsiteX9" fmla="*/ 2472538 w 7366407"/>
              <a:gd name="connsiteY9" fmla="*/ 416966 h 3562502"/>
              <a:gd name="connsiteX10" fmla="*/ 3160166 w 7366407"/>
              <a:gd name="connsiteY10" fmla="*/ 21945 h 3562502"/>
              <a:gd name="connsiteX11" fmla="*/ 3803904 w 7366407"/>
              <a:gd name="connsiteY11" fmla="*/ 395020 h 3562502"/>
              <a:gd name="connsiteX12" fmla="*/ 4462272 w 7366407"/>
              <a:gd name="connsiteY12" fmla="*/ 7315 h 3562502"/>
              <a:gd name="connsiteX13" fmla="*/ 5113325 w 7366407"/>
              <a:gd name="connsiteY13" fmla="*/ 482803 h 3562502"/>
              <a:gd name="connsiteX14" fmla="*/ 4089196 w 7366407"/>
              <a:gd name="connsiteY14" fmla="*/ 1850746 h 3562502"/>
              <a:gd name="connsiteX15" fmla="*/ 5479085 w 7366407"/>
              <a:gd name="connsiteY15" fmla="*/ 1850745 h 3562502"/>
              <a:gd name="connsiteX16" fmla="*/ 5498920 w 7366407"/>
              <a:gd name="connsiteY16" fmla="*/ 1867642 h 3562502"/>
              <a:gd name="connsiteX17" fmla="*/ 5793639 w 7366407"/>
              <a:gd name="connsiteY17" fmla="*/ 2245766 h 3562502"/>
              <a:gd name="connsiteX18" fmla="*/ 6005780 w 7366407"/>
              <a:gd name="connsiteY18" fmla="*/ 0 h 3562502"/>
              <a:gd name="connsiteX19" fmla="*/ 6269127 w 7366407"/>
              <a:gd name="connsiteY19" fmla="*/ 3533241 h 3562502"/>
              <a:gd name="connsiteX20" fmla="*/ 6590995 w 7366407"/>
              <a:gd name="connsiteY20" fmla="*/ 1250899 h 3562502"/>
              <a:gd name="connsiteX21" fmla="*/ 6686093 w 7366407"/>
              <a:gd name="connsiteY21" fmla="*/ 1894636 h 3562502"/>
              <a:gd name="connsiteX22" fmla="*/ 7366407 w 7366407"/>
              <a:gd name="connsiteY22" fmla="*/ 1894637 h 3562502"/>
              <a:gd name="connsiteX0" fmla="*/ 0 w 7366407"/>
              <a:gd name="connsiteY0" fmla="*/ 1872690 h 3562502"/>
              <a:gd name="connsiteX1" fmla="*/ 907085 w 7366407"/>
              <a:gd name="connsiteY1" fmla="*/ 1865376 h 3562502"/>
              <a:gd name="connsiteX2" fmla="*/ 1009498 w 7366407"/>
              <a:gd name="connsiteY2" fmla="*/ 1236269 h 3562502"/>
              <a:gd name="connsiteX3" fmla="*/ 1294790 w 7366407"/>
              <a:gd name="connsiteY3" fmla="*/ 3562502 h 3562502"/>
              <a:gd name="connsiteX4" fmla="*/ 1587398 w 7366407"/>
              <a:gd name="connsiteY4" fmla="*/ 14630 h 3562502"/>
              <a:gd name="connsiteX5" fmla="*/ 1799539 w 7366407"/>
              <a:gd name="connsiteY5" fmla="*/ 2223820 h 3562502"/>
              <a:gd name="connsiteX6" fmla="*/ 2038831 w 7366407"/>
              <a:gd name="connsiteY6" fmla="*/ 1874957 h 3562502"/>
              <a:gd name="connsiteX7" fmla="*/ 3518611 w 7366407"/>
              <a:gd name="connsiteY7" fmla="*/ 1850745 h 3562502"/>
              <a:gd name="connsiteX8" fmla="*/ 3501871 w 7366407"/>
              <a:gd name="connsiteY8" fmla="*/ 1853012 h 3562502"/>
              <a:gd name="connsiteX9" fmla="*/ 2472538 w 7366407"/>
              <a:gd name="connsiteY9" fmla="*/ 416966 h 3562502"/>
              <a:gd name="connsiteX10" fmla="*/ 3160166 w 7366407"/>
              <a:gd name="connsiteY10" fmla="*/ 21945 h 3562502"/>
              <a:gd name="connsiteX11" fmla="*/ 3803904 w 7366407"/>
              <a:gd name="connsiteY11" fmla="*/ 395020 h 3562502"/>
              <a:gd name="connsiteX12" fmla="*/ 4462272 w 7366407"/>
              <a:gd name="connsiteY12" fmla="*/ 7315 h 3562502"/>
              <a:gd name="connsiteX13" fmla="*/ 5113325 w 7366407"/>
              <a:gd name="connsiteY13" fmla="*/ 482803 h 3562502"/>
              <a:gd name="connsiteX14" fmla="*/ 4089196 w 7366407"/>
              <a:gd name="connsiteY14" fmla="*/ 1850746 h 3562502"/>
              <a:gd name="connsiteX15" fmla="*/ 5471770 w 7366407"/>
              <a:gd name="connsiteY15" fmla="*/ 1880006 h 3562502"/>
              <a:gd name="connsiteX16" fmla="*/ 5498920 w 7366407"/>
              <a:gd name="connsiteY16" fmla="*/ 1867642 h 3562502"/>
              <a:gd name="connsiteX17" fmla="*/ 5793639 w 7366407"/>
              <a:gd name="connsiteY17" fmla="*/ 2245766 h 3562502"/>
              <a:gd name="connsiteX18" fmla="*/ 6005780 w 7366407"/>
              <a:gd name="connsiteY18" fmla="*/ 0 h 3562502"/>
              <a:gd name="connsiteX19" fmla="*/ 6269127 w 7366407"/>
              <a:gd name="connsiteY19" fmla="*/ 3533241 h 3562502"/>
              <a:gd name="connsiteX20" fmla="*/ 6590995 w 7366407"/>
              <a:gd name="connsiteY20" fmla="*/ 1250899 h 3562502"/>
              <a:gd name="connsiteX21" fmla="*/ 6686093 w 7366407"/>
              <a:gd name="connsiteY21" fmla="*/ 1894636 h 3562502"/>
              <a:gd name="connsiteX22" fmla="*/ 7366407 w 7366407"/>
              <a:gd name="connsiteY22" fmla="*/ 1894637 h 3562502"/>
              <a:gd name="connsiteX0" fmla="*/ 0 w 7366407"/>
              <a:gd name="connsiteY0" fmla="*/ 1872690 h 3562502"/>
              <a:gd name="connsiteX1" fmla="*/ 907085 w 7366407"/>
              <a:gd name="connsiteY1" fmla="*/ 1865376 h 3562502"/>
              <a:gd name="connsiteX2" fmla="*/ 1009498 w 7366407"/>
              <a:gd name="connsiteY2" fmla="*/ 1236269 h 3562502"/>
              <a:gd name="connsiteX3" fmla="*/ 1294790 w 7366407"/>
              <a:gd name="connsiteY3" fmla="*/ 3562502 h 3562502"/>
              <a:gd name="connsiteX4" fmla="*/ 1587398 w 7366407"/>
              <a:gd name="connsiteY4" fmla="*/ 14630 h 3562502"/>
              <a:gd name="connsiteX5" fmla="*/ 1799539 w 7366407"/>
              <a:gd name="connsiteY5" fmla="*/ 2223820 h 3562502"/>
              <a:gd name="connsiteX6" fmla="*/ 2038831 w 7366407"/>
              <a:gd name="connsiteY6" fmla="*/ 1874957 h 3562502"/>
              <a:gd name="connsiteX7" fmla="*/ 3518611 w 7366407"/>
              <a:gd name="connsiteY7" fmla="*/ 1850745 h 3562502"/>
              <a:gd name="connsiteX8" fmla="*/ 3501871 w 7366407"/>
              <a:gd name="connsiteY8" fmla="*/ 1853012 h 3562502"/>
              <a:gd name="connsiteX9" fmla="*/ 2472538 w 7366407"/>
              <a:gd name="connsiteY9" fmla="*/ 416966 h 3562502"/>
              <a:gd name="connsiteX10" fmla="*/ 3160166 w 7366407"/>
              <a:gd name="connsiteY10" fmla="*/ 21945 h 3562502"/>
              <a:gd name="connsiteX11" fmla="*/ 3803904 w 7366407"/>
              <a:gd name="connsiteY11" fmla="*/ 395020 h 3562502"/>
              <a:gd name="connsiteX12" fmla="*/ 4462272 w 7366407"/>
              <a:gd name="connsiteY12" fmla="*/ 7315 h 3562502"/>
              <a:gd name="connsiteX13" fmla="*/ 5113325 w 7366407"/>
              <a:gd name="connsiteY13" fmla="*/ 482803 h 3562502"/>
              <a:gd name="connsiteX14" fmla="*/ 4089196 w 7366407"/>
              <a:gd name="connsiteY14" fmla="*/ 1850746 h 3562502"/>
              <a:gd name="connsiteX15" fmla="*/ 5498920 w 7366407"/>
              <a:gd name="connsiteY15" fmla="*/ 1867642 h 3562502"/>
              <a:gd name="connsiteX16" fmla="*/ 5793639 w 7366407"/>
              <a:gd name="connsiteY16" fmla="*/ 2245766 h 3562502"/>
              <a:gd name="connsiteX17" fmla="*/ 6005780 w 7366407"/>
              <a:gd name="connsiteY17" fmla="*/ 0 h 3562502"/>
              <a:gd name="connsiteX18" fmla="*/ 6269127 w 7366407"/>
              <a:gd name="connsiteY18" fmla="*/ 3533241 h 3562502"/>
              <a:gd name="connsiteX19" fmla="*/ 6590995 w 7366407"/>
              <a:gd name="connsiteY19" fmla="*/ 1250899 h 3562502"/>
              <a:gd name="connsiteX20" fmla="*/ 6686093 w 7366407"/>
              <a:gd name="connsiteY20" fmla="*/ 1894636 h 3562502"/>
              <a:gd name="connsiteX21" fmla="*/ 7366407 w 7366407"/>
              <a:gd name="connsiteY21" fmla="*/ 1894637 h 3562502"/>
              <a:gd name="connsiteX0" fmla="*/ 0 w 7366407"/>
              <a:gd name="connsiteY0" fmla="*/ 1872690 h 3562502"/>
              <a:gd name="connsiteX1" fmla="*/ 907085 w 7366407"/>
              <a:gd name="connsiteY1" fmla="*/ 1865376 h 3562502"/>
              <a:gd name="connsiteX2" fmla="*/ 1009498 w 7366407"/>
              <a:gd name="connsiteY2" fmla="*/ 1236269 h 3562502"/>
              <a:gd name="connsiteX3" fmla="*/ 1294790 w 7366407"/>
              <a:gd name="connsiteY3" fmla="*/ 3562502 h 3562502"/>
              <a:gd name="connsiteX4" fmla="*/ 1587398 w 7366407"/>
              <a:gd name="connsiteY4" fmla="*/ 14630 h 3562502"/>
              <a:gd name="connsiteX5" fmla="*/ 1799539 w 7366407"/>
              <a:gd name="connsiteY5" fmla="*/ 2223820 h 3562502"/>
              <a:gd name="connsiteX6" fmla="*/ 2038831 w 7366407"/>
              <a:gd name="connsiteY6" fmla="*/ 1874957 h 3562502"/>
              <a:gd name="connsiteX7" fmla="*/ 3518611 w 7366407"/>
              <a:gd name="connsiteY7" fmla="*/ 1850745 h 3562502"/>
              <a:gd name="connsiteX8" fmla="*/ 3501871 w 7366407"/>
              <a:gd name="connsiteY8" fmla="*/ 1853012 h 3562502"/>
              <a:gd name="connsiteX9" fmla="*/ 2472538 w 7366407"/>
              <a:gd name="connsiteY9" fmla="*/ 416966 h 3562502"/>
              <a:gd name="connsiteX10" fmla="*/ 3160166 w 7366407"/>
              <a:gd name="connsiteY10" fmla="*/ 21945 h 3562502"/>
              <a:gd name="connsiteX11" fmla="*/ 3803904 w 7366407"/>
              <a:gd name="connsiteY11" fmla="*/ 395020 h 3562502"/>
              <a:gd name="connsiteX12" fmla="*/ 4462272 w 7366407"/>
              <a:gd name="connsiteY12" fmla="*/ 7315 h 3562502"/>
              <a:gd name="connsiteX13" fmla="*/ 5113325 w 7366407"/>
              <a:gd name="connsiteY13" fmla="*/ 482803 h 3562502"/>
              <a:gd name="connsiteX14" fmla="*/ 4140402 w 7366407"/>
              <a:gd name="connsiteY14" fmla="*/ 1880007 h 3562502"/>
              <a:gd name="connsiteX15" fmla="*/ 5498920 w 7366407"/>
              <a:gd name="connsiteY15" fmla="*/ 1867642 h 3562502"/>
              <a:gd name="connsiteX16" fmla="*/ 5793639 w 7366407"/>
              <a:gd name="connsiteY16" fmla="*/ 2245766 h 3562502"/>
              <a:gd name="connsiteX17" fmla="*/ 6005780 w 7366407"/>
              <a:gd name="connsiteY17" fmla="*/ 0 h 3562502"/>
              <a:gd name="connsiteX18" fmla="*/ 6269127 w 7366407"/>
              <a:gd name="connsiteY18" fmla="*/ 3533241 h 3562502"/>
              <a:gd name="connsiteX19" fmla="*/ 6590995 w 7366407"/>
              <a:gd name="connsiteY19" fmla="*/ 1250899 h 3562502"/>
              <a:gd name="connsiteX20" fmla="*/ 6686093 w 7366407"/>
              <a:gd name="connsiteY20" fmla="*/ 1894636 h 3562502"/>
              <a:gd name="connsiteX21" fmla="*/ 7366407 w 7366407"/>
              <a:gd name="connsiteY21" fmla="*/ 1894637 h 3562502"/>
              <a:gd name="connsiteX0" fmla="*/ 0 w 7366407"/>
              <a:gd name="connsiteY0" fmla="*/ 1872690 h 3562502"/>
              <a:gd name="connsiteX1" fmla="*/ 907085 w 7366407"/>
              <a:gd name="connsiteY1" fmla="*/ 1865376 h 3562502"/>
              <a:gd name="connsiteX2" fmla="*/ 1009498 w 7366407"/>
              <a:gd name="connsiteY2" fmla="*/ 1236269 h 3562502"/>
              <a:gd name="connsiteX3" fmla="*/ 1294790 w 7366407"/>
              <a:gd name="connsiteY3" fmla="*/ 3562502 h 3562502"/>
              <a:gd name="connsiteX4" fmla="*/ 1587398 w 7366407"/>
              <a:gd name="connsiteY4" fmla="*/ 14630 h 3562502"/>
              <a:gd name="connsiteX5" fmla="*/ 1799539 w 7366407"/>
              <a:gd name="connsiteY5" fmla="*/ 2223820 h 3562502"/>
              <a:gd name="connsiteX6" fmla="*/ 2038831 w 7366407"/>
              <a:gd name="connsiteY6" fmla="*/ 1874957 h 3562502"/>
              <a:gd name="connsiteX7" fmla="*/ 3501871 w 7366407"/>
              <a:gd name="connsiteY7" fmla="*/ 1853012 h 3562502"/>
              <a:gd name="connsiteX8" fmla="*/ 2472538 w 7366407"/>
              <a:gd name="connsiteY8" fmla="*/ 416966 h 3562502"/>
              <a:gd name="connsiteX9" fmla="*/ 3160166 w 7366407"/>
              <a:gd name="connsiteY9" fmla="*/ 21945 h 3562502"/>
              <a:gd name="connsiteX10" fmla="*/ 3803904 w 7366407"/>
              <a:gd name="connsiteY10" fmla="*/ 395020 h 3562502"/>
              <a:gd name="connsiteX11" fmla="*/ 4462272 w 7366407"/>
              <a:gd name="connsiteY11" fmla="*/ 7315 h 3562502"/>
              <a:gd name="connsiteX12" fmla="*/ 5113325 w 7366407"/>
              <a:gd name="connsiteY12" fmla="*/ 482803 h 3562502"/>
              <a:gd name="connsiteX13" fmla="*/ 4140402 w 7366407"/>
              <a:gd name="connsiteY13" fmla="*/ 1880007 h 3562502"/>
              <a:gd name="connsiteX14" fmla="*/ 5498920 w 7366407"/>
              <a:gd name="connsiteY14" fmla="*/ 1867642 h 3562502"/>
              <a:gd name="connsiteX15" fmla="*/ 5793639 w 7366407"/>
              <a:gd name="connsiteY15" fmla="*/ 2245766 h 3562502"/>
              <a:gd name="connsiteX16" fmla="*/ 6005780 w 7366407"/>
              <a:gd name="connsiteY16" fmla="*/ 0 h 3562502"/>
              <a:gd name="connsiteX17" fmla="*/ 6269127 w 7366407"/>
              <a:gd name="connsiteY17" fmla="*/ 3533241 h 3562502"/>
              <a:gd name="connsiteX18" fmla="*/ 6590995 w 7366407"/>
              <a:gd name="connsiteY18" fmla="*/ 1250899 h 3562502"/>
              <a:gd name="connsiteX19" fmla="*/ 6686093 w 7366407"/>
              <a:gd name="connsiteY19" fmla="*/ 1894636 h 3562502"/>
              <a:gd name="connsiteX20" fmla="*/ 7366407 w 7366407"/>
              <a:gd name="connsiteY20" fmla="*/ 1894637 h 3562502"/>
              <a:gd name="connsiteX0" fmla="*/ 0 w 7366407"/>
              <a:gd name="connsiteY0" fmla="*/ 1872690 h 3562502"/>
              <a:gd name="connsiteX1" fmla="*/ 907085 w 7366407"/>
              <a:gd name="connsiteY1" fmla="*/ 1865376 h 3562502"/>
              <a:gd name="connsiteX2" fmla="*/ 1009498 w 7366407"/>
              <a:gd name="connsiteY2" fmla="*/ 1236269 h 3562502"/>
              <a:gd name="connsiteX3" fmla="*/ 1294790 w 7366407"/>
              <a:gd name="connsiteY3" fmla="*/ 3562502 h 3562502"/>
              <a:gd name="connsiteX4" fmla="*/ 1587398 w 7366407"/>
              <a:gd name="connsiteY4" fmla="*/ 14630 h 3562502"/>
              <a:gd name="connsiteX5" fmla="*/ 1799539 w 7366407"/>
              <a:gd name="connsiteY5" fmla="*/ 2223820 h 3562502"/>
              <a:gd name="connsiteX6" fmla="*/ 2038831 w 7366407"/>
              <a:gd name="connsiteY6" fmla="*/ 1874957 h 3562502"/>
              <a:gd name="connsiteX7" fmla="*/ 3457980 w 7366407"/>
              <a:gd name="connsiteY7" fmla="*/ 1889588 h 3562502"/>
              <a:gd name="connsiteX8" fmla="*/ 2472538 w 7366407"/>
              <a:gd name="connsiteY8" fmla="*/ 416966 h 3562502"/>
              <a:gd name="connsiteX9" fmla="*/ 3160166 w 7366407"/>
              <a:gd name="connsiteY9" fmla="*/ 21945 h 3562502"/>
              <a:gd name="connsiteX10" fmla="*/ 3803904 w 7366407"/>
              <a:gd name="connsiteY10" fmla="*/ 395020 h 3562502"/>
              <a:gd name="connsiteX11" fmla="*/ 4462272 w 7366407"/>
              <a:gd name="connsiteY11" fmla="*/ 7315 h 3562502"/>
              <a:gd name="connsiteX12" fmla="*/ 5113325 w 7366407"/>
              <a:gd name="connsiteY12" fmla="*/ 482803 h 3562502"/>
              <a:gd name="connsiteX13" fmla="*/ 4140402 w 7366407"/>
              <a:gd name="connsiteY13" fmla="*/ 1880007 h 3562502"/>
              <a:gd name="connsiteX14" fmla="*/ 5498920 w 7366407"/>
              <a:gd name="connsiteY14" fmla="*/ 1867642 h 3562502"/>
              <a:gd name="connsiteX15" fmla="*/ 5793639 w 7366407"/>
              <a:gd name="connsiteY15" fmla="*/ 2245766 h 3562502"/>
              <a:gd name="connsiteX16" fmla="*/ 6005780 w 7366407"/>
              <a:gd name="connsiteY16" fmla="*/ 0 h 3562502"/>
              <a:gd name="connsiteX17" fmla="*/ 6269127 w 7366407"/>
              <a:gd name="connsiteY17" fmla="*/ 3533241 h 3562502"/>
              <a:gd name="connsiteX18" fmla="*/ 6590995 w 7366407"/>
              <a:gd name="connsiteY18" fmla="*/ 1250899 h 3562502"/>
              <a:gd name="connsiteX19" fmla="*/ 6686093 w 7366407"/>
              <a:gd name="connsiteY19" fmla="*/ 1894636 h 3562502"/>
              <a:gd name="connsiteX20" fmla="*/ 7366407 w 7366407"/>
              <a:gd name="connsiteY20" fmla="*/ 1894637 h 3562502"/>
              <a:gd name="connsiteX0" fmla="*/ 0 w 7366407"/>
              <a:gd name="connsiteY0" fmla="*/ 1872690 h 3562502"/>
              <a:gd name="connsiteX1" fmla="*/ 907085 w 7366407"/>
              <a:gd name="connsiteY1" fmla="*/ 1865376 h 3562502"/>
              <a:gd name="connsiteX2" fmla="*/ 1009498 w 7366407"/>
              <a:gd name="connsiteY2" fmla="*/ 1236269 h 3562502"/>
              <a:gd name="connsiteX3" fmla="*/ 1294790 w 7366407"/>
              <a:gd name="connsiteY3" fmla="*/ 3562502 h 3562502"/>
              <a:gd name="connsiteX4" fmla="*/ 1587398 w 7366407"/>
              <a:gd name="connsiteY4" fmla="*/ 14630 h 3562502"/>
              <a:gd name="connsiteX5" fmla="*/ 1865376 w 7366407"/>
              <a:gd name="connsiteY5" fmla="*/ 2238450 h 3562502"/>
              <a:gd name="connsiteX6" fmla="*/ 2038831 w 7366407"/>
              <a:gd name="connsiteY6" fmla="*/ 1874957 h 3562502"/>
              <a:gd name="connsiteX7" fmla="*/ 3457980 w 7366407"/>
              <a:gd name="connsiteY7" fmla="*/ 1889588 h 3562502"/>
              <a:gd name="connsiteX8" fmla="*/ 2472538 w 7366407"/>
              <a:gd name="connsiteY8" fmla="*/ 416966 h 3562502"/>
              <a:gd name="connsiteX9" fmla="*/ 3160166 w 7366407"/>
              <a:gd name="connsiteY9" fmla="*/ 21945 h 3562502"/>
              <a:gd name="connsiteX10" fmla="*/ 3803904 w 7366407"/>
              <a:gd name="connsiteY10" fmla="*/ 395020 h 3562502"/>
              <a:gd name="connsiteX11" fmla="*/ 4462272 w 7366407"/>
              <a:gd name="connsiteY11" fmla="*/ 7315 h 3562502"/>
              <a:gd name="connsiteX12" fmla="*/ 5113325 w 7366407"/>
              <a:gd name="connsiteY12" fmla="*/ 482803 h 3562502"/>
              <a:gd name="connsiteX13" fmla="*/ 4140402 w 7366407"/>
              <a:gd name="connsiteY13" fmla="*/ 1880007 h 3562502"/>
              <a:gd name="connsiteX14" fmla="*/ 5498920 w 7366407"/>
              <a:gd name="connsiteY14" fmla="*/ 1867642 h 3562502"/>
              <a:gd name="connsiteX15" fmla="*/ 5793639 w 7366407"/>
              <a:gd name="connsiteY15" fmla="*/ 2245766 h 3562502"/>
              <a:gd name="connsiteX16" fmla="*/ 6005780 w 7366407"/>
              <a:gd name="connsiteY16" fmla="*/ 0 h 3562502"/>
              <a:gd name="connsiteX17" fmla="*/ 6269127 w 7366407"/>
              <a:gd name="connsiteY17" fmla="*/ 3533241 h 3562502"/>
              <a:gd name="connsiteX18" fmla="*/ 6590995 w 7366407"/>
              <a:gd name="connsiteY18" fmla="*/ 1250899 h 3562502"/>
              <a:gd name="connsiteX19" fmla="*/ 6686093 w 7366407"/>
              <a:gd name="connsiteY19" fmla="*/ 1894636 h 3562502"/>
              <a:gd name="connsiteX20" fmla="*/ 7366407 w 7366407"/>
              <a:gd name="connsiteY20" fmla="*/ 1894637 h 3562502"/>
              <a:gd name="connsiteX0" fmla="*/ 0 w 7366407"/>
              <a:gd name="connsiteY0" fmla="*/ 1872690 h 3562502"/>
              <a:gd name="connsiteX1" fmla="*/ 907085 w 7366407"/>
              <a:gd name="connsiteY1" fmla="*/ 1865376 h 3562502"/>
              <a:gd name="connsiteX2" fmla="*/ 1009498 w 7366407"/>
              <a:gd name="connsiteY2" fmla="*/ 1236269 h 3562502"/>
              <a:gd name="connsiteX3" fmla="*/ 1294790 w 7366407"/>
              <a:gd name="connsiteY3" fmla="*/ 3562502 h 3562502"/>
              <a:gd name="connsiteX4" fmla="*/ 1587398 w 7366407"/>
              <a:gd name="connsiteY4" fmla="*/ 14630 h 3562502"/>
              <a:gd name="connsiteX5" fmla="*/ 1865376 w 7366407"/>
              <a:gd name="connsiteY5" fmla="*/ 2238450 h 3562502"/>
              <a:gd name="connsiteX6" fmla="*/ 2038831 w 7366407"/>
              <a:gd name="connsiteY6" fmla="*/ 1874957 h 3562502"/>
              <a:gd name="connsiteX7" fmla="*/ 3457980 w 7366407"/>
              <a:gd name="connsiteY7" fmla="*/ 1889588 h 3562502"/>
              <a:gd name="connsiteX8" fmla="*/ 2472538 w 7366407"/>
              <a:gd name="connsiteY8" fmla="*/ 416966 h 3562502"/>
              <a:gd name="connsiteX9" fmla="*/ 3160166 w 7366407"/>
              <a:gd name="connsiteY9" fmla="*/ 21945 h 3562502"/>
              <a:gd name="connsiteX10" fmla="*/ 3803904 w 7366407"/>
              <a:gd name="connsiteY10" fmla="*/ 395020 h 3562502"/>
              <a:gd name="connsiteX11" fmla="*/ 4462272 w 7366407"/>
              <a:gd name="connsiteY11" fmla="*/ 7315 h 3562502"/>
              <a:gd name="connsiteX12" fmla="*/ 5113325 w 7366407"/>
              <a:gd name="connsiteY12" fmla="*/ 482803 h 3562502"/>
              <a:gd name="connsiteX13" fmla="*/ 4140402 w 7366407"/>
              <a:gd name="connsiteY13" fmla="*/ 1880007 h 3562502"/>
              <a:gd name="connsiteX14" fmla="*/ 5498920 w 7366407"/>
              <a:gd name="connsiteY14" fmla="*/ 1867642 h 3562502"/>
              <a:gd name="connsiteX15" fmla="*/ 5720487 w 7366407"/>
              <a:gd name="connsiteY15" fmla="*/ 2238450 h 3562502"/>
              <a:gd name="connsiteX16" fmla="*/ 6005780 w 7366407"/>
              <a:gd name="connsiteY16" fmla="*/ 0 h 3562502"/>
              <a:gd name="connsiteX17" fmla="*/ 6269127 w 7366407"/>
              <a:gd name="connsiteY17" fmla="*/ 3533241 h 3562502"/>
              <a:gd name="connsiteX18" fmla="*/ 6590995 w 7366407"/>
              <a:gd name="connsiteY18" fmla="*/ 1250899 h 3562502"/>
              <a:gd name="connsiteX19" fmla="*/ 6686093 w 7366407"/>
              <a:gd name="connsiteY19" fmla="*/ 1894636 h 3562502"/>
              <a:gd name="connsiteX20" fmla="*/ 7366407 w 7366407"/>
              <a:gd name="connsiteY20" fmla="*/ 1894637 h 3562502"/>
              <a:gd name="connsiteX0" fmla="*/ 0 w 7366407"/>
              <a:gd name="connsiteY0" fmla="*/ 1872690 h 3562502"/>
              <a:gd name="connsiteX1" fmla="*/ 907085 w 7366407"/>
              <a:gd name="connsiteY1" fmla="*/ 1865376 h 3562502"/>
              <a:gd name="connsiteX2" fmla="*/ 1009498 w 7366407"/>
              <a:gd name="connsiteY2" fmla="*/ 1236269 h 3562502"/>
              <a:gd name="connsiteX3" fmla="*/ 1294790 w 7366407"/>
              <a:gd name="connsiteY3" fmla="*/ 3562502 h 3562502"/>
              <a:gd name="connsiteX4" fmla="*/ 1587398 w 7366407"/>
              <a:gd name="connsiteY4" fmla="*/ 14630 h 3562502"/>
              <a:gd name="connsiteX5" fmla="*/ 1865376 w 7366407"/>
              <a:gd name="connsiteY5" fmla="*/ 2238450 h 3562502"/>
              <a:gd name="connsiteX6" fmla="*/ 2038831 w 7366407"/>
              <a:gd name="connsiteY6" fmla="*/ 1874957 h 3562502"/>
              <a:gd name="connsiteX7" fmla="*/ 3457980 w 7366407"/>
              <a:gd name="connsiteY7" fmla="*/ 1889588 h 3562502"/>
              <a:gd name="connsiteX8" fmla="*/ 2472538 w 7366407"/>
              <a:gd name="connsiteY8" fmla="*/ 416966 h 3562502"/>
              <a:gd name="connsiteX9" fmla="*/ 3160166 w 7366407"/>
              <a:gd name="connsiteY9" fmla="*/ 21945 h 3562502"/>
              <a:gd name="connsiteX10" fmla="*/ 3803904 w 7366407"/>
              <a:gd name="connsiteY10" fmla="*/ 395020 h 3562502"/>
              <a:gd name="connsiteX11" fmla="*/ 4462272 w 7366407"/>
              <a:gd name="connsiteY11" fmla="*/ 7315 h 3562502"/>
              <a:gd name="connsiteX12" fmla="*/ 5113325 w 7366407"/>
              <a:gd name="connsiteY12" fmla="*/ 482803 h 3562502"/>
              <a:gd name="connsiteX13" fmla="*/ 4140402 w 7366407"/>
              <a:gd name="connsiteY13" fmla="*/ 1880007 h 3562502"/>
              <a:gd name="connsiteX14" fmla="*/ 5498920 w 7366407"/>
              <a:gd name="connsiteY14" fmla="*/ 1896902 h 3562502"/>
              <a:gd name="connsiteX15" fmla="*/ 5720487 w 7366407"/>
              <a:gd name="connsiteY15" fmla="*/ 2238450 h 3562502"/>
              <a:gd name="connsiteX16" fmla="*/ 6005780 w 7366407"/>
              <a:gd name="connsiteY16" fmla="*/ 0 h 3562502"/>
              <a:gd name="connsiteX17" fmla="*/ 6269127 w 7366407"/>
              <a:gd name="connsiteY17" fmla="*/ 3533241 h 3562502"/>
              <a:gd name="connsiteX18" fmla="*/ 6590995 w 7366407"/>
              <a:gd name="connsiteY18" fmla="*/ 1250899 h 3562502"/>
              <a:gd name="connsiteX19" fmla="*/ 6686093 w 7366407"/>
              <a:gd name="connsiteY19" fmla="*/ 1894636 h 3562502"/>
              <a:gd name="connsiteX20" fmla="*/ 7366407 w 7366407"/>
              <a:gd name="connsiteY20" fmla="*/ 1894637 h 3562502"/>
              <a:gd name="connsiteX0" fmla="*/ 0 w 7454190"/>
              <a:gd name="connsiteY0" fmla="*/ 1872690 h 3562502"/>
              <a:gd name="connsiteX1" fmla="*/ 907085 w 7454190"/>
              <a:gd name="connsiteY1" fmla="*/ 1865376 h 3562502"/>
              <a:gd name="connsiteX2" fmla="*/ 1009498 w 7454190"/>
              <a:gd name="connsiteY2" fmla="*/ 1236269 h 3562502"/>
              <a:gd name="connsiteX3" fmla="*/ 1294790 w 7454190"/>
              <a:gd name="connsiteY3" fmla="*/ 3562502 h 3562502"/>
              <a:gd name="connsiteX4" fmla="*/ 1587398 w 7454190"/>
              <a:gd name="connsiteY4" fmla="*/ 14630 h 3562502"/>
              <a:gd name="connsiteX5" fmla="*/ 1865376 w 7454190"/>
              <a:gd name="connsiteY5" fmla="*/ 2238450 h 3562502"/>
              <a:gd name="connsiteX6" fmla="*/ 2038831 w 7454190"/>
              <a:gd name="connsiteY6" fmla="*/ 1874957 h 3562502"/>
              <a:gd name="connsiteX7" fmla="*/ 3457980 w 7454190"/>
              <a:gd name="connsiteY7" fmla="*/ 1889588 h 3562502"/>
              <a:gd name="connsiteX8" fmla="*/ 2472538 w 7454190"/>
              <a:gd name="connsiteY8" fmla="*/ 416966 h 3562502"/>
              <a:gd name="connsiteX9" fmla="*/ 3160166 w 7454190"/>
              <a:gd name="connsiteY9" fmla="*/ 21945 h 3562502"/>
              <a:gd name="connsiteX10" fmla="*/ 3803904 w 7454190"/>
              <a:gd name="connsiteY10" fmla="*/ 395020 h 3562502"/>
              <a:gd name="connsiteX11" fmla="*/ 4462272 w 7454190"/>
              <a:gd name="connsiteY11" fmla="*/ 7315 h 3562502"/>
              <a:gd name="connsiteX12" fmla="*/ 5113325 w 7454190"/>
              <a:gd name="connsiteY12" fmla="*/ 482803 h 3562502"/>
              <a:gd name="connsiteX13" fmla="*/ 4140402 w 7454190"/>
              <a:gd name="connsiteY13" fmla="*/ 1880007 h 3562502"/>
              <a:gd name="connsiteX14" fmla="*/ 5498920 w 7454190"/>
              <a:gd name="connsiteY14" fmla="*/ 1896902 h 3562502"/>
              <a:gd name="connsiteX15" fmla="*/ 5720487 w 7454190"/>
              <a:gd name="connsiteY15" fmla="*/ 2238450 h 3562502"/>
              <a:gd name="connsiteX16" fmla="*/ 6005780 w 7454190"/>
              <a:gd name="connsiteY16" fmla="*/ 0 h 3562502"/>
              <a:gd name="connsiteX17" fmla="*/ 6269127 w 7454190"/>
              <a:gd name="connsiteY17" fmla="*/ 3533241 h 3562502"/>
              <a:gd name="connsiteX18" fmla="*/ 6590995 w 7454190"/>
              <a:gd name="connsiteY18" fmla="*/ 1250899 h 3562502"/>
              <a:gd name="connsiteX19" fmla="*/ 6686093 w 7454190"/>
              <a:gd name="connsiteY19" fmla="*/ 1894636 h 3562502"/>
              <a:gd name="connsiteX20" fmla="*/ 7454190 w 7454190"/>
              <a:gd name="connsiteY20" fmla="*/ 1894637 h 3562502"/>
              <a:gd name="connsiteX0" fmla="*/ 0 w 7454190"/>
              <a:gd name="connsiteY0" fmla="*/ 1872690 h 3562502"/>
              <a:gd name="connsiteX1" fmla="*/ 907085 w 7454190"/>
              <a:gd name="connsiteY1" fmla="*/ 1865376 h 3562502"/>
              <a:gd name="connsiteX2" fmla="*/ 1009498 w 7454190"/>
              <a:gd name="connsiteY2" fmla="*/ 1236269 h 3562502"/>
              <a:gd name="connsiteX3" fmla="*/ 1294790 w 7454190"/>
              <a:gd name="connsiteY3" fmla="*/ 3562502 h 3562502"/>
              <a:gd name="connsiteX4" fmla="*/ 1587398 w 7454190"/>
              <a:gd name="connsiteY4" fmla="*/ 14630 h 3562502"/>
              <a:gd name="connsiteX5" fmla="*/ 1865376 w 7454190"/>
              <a:gd name="connsiteY5" fmla="*/ 2238450 h 3562502"/>
              <a:gd name="connsiteX6" fmla="*/ 2038831 w 7454190"/>
              <a:gd name="connsiteY6" fmla="*/ 1874957 h 3562502"/>
              <a:gd name="connsiteX7" fmla="*/ 3457980 w 7454190"/>
              <a:gd name="connsiteY7" fmla="*/ 1889588 h 3562502"/>
              <a:gd name="connsiteX8" fmla="*/ 2472538 w 7454190"/>
              <a:gd name="connsiteY8" fmla="*/ 416966 h 3562502"/>
              <a:gd name="connsiteX9" fmla="*/ 3160166 w 7454190"/>
              <a:gd name="connsiteY9" fmla="*/ 21945 h 3562502"/>
              <a:gd name="connsiteX10" fmla="*/ 3803904 w 7454190"/>
              <a:gd name="connsiteY10" fmla="*/ 395020 h 3562502"/>
              <a:gd name="connsiteX11" fmla="*/ 4462272 w 7454190"/>
              <a:gd name="connsiteY11" fmla="*/ 7315 h 3562502"/>
              <a:gd name="connsiteX12" fmla="*/ 5113325 w 7454190"/>
              <a:gd name="connsiteY12" fmla="*/ 482803 h 3562502"/>
              <a:gd name="connsiteX13" fmla="*/ 4140402 w 7454190"/>
              <a:gd name="connsiteY13" fmla="*/ 1880007 h 3562502"/>
              <a:gd name="connsiteX14" fmla="*/ 5498920 w 7454190"/>
              <a:gd name="connsiteY14" fmla="*/ 1896902 h 3562502"/>
              <a:gd name="connsiteX15" fmla="*/ 5720487 w 7454190"/>
              <a:gd name="connsiteY15" fmla="*/ 2238450 h 3562502"/>
              <a:gd name="connsiteX16" fmla="*/ 6005780 w 7454190"/>
              <a:gd name="connsiteY16" fmla="*/ 0 h 3562502"/>
              <a:gd name="connsiteX17" fmla="*/ 6269127 w 7454190"/>
              <a:gd name="connsiteY17" fmla="*/ 3533241 h 3562502"/>
              <a:gd name="connsiteX18" fmla="*/ 6590995 w 7454190"/>
              <a:gd name="connsiteY18" fmla="*/ 1250899 h 3562502"/>
              <a:gd name="connsiteX19" fmla="*/ 6686093 w 7454190"/>
              <a:gd name="connsiteY19" fmla="*/ 1894636 h 3562502"/>
              <a:gd name="connsiteX20" fmla="*/ 7454190 w 7454190"/>
              <a:gd name="connsiteY20" fmla="*/ 1894637 h 3562502"/>
              <a:gd name="connsiteX0" fmla="*/ 0 w 7454190"/>
              <a:gd name="connsiteY0" fmla="*/ 1872690 h 3562502"/>
              <a:gd name="connsiteX1" fmla="*/ 907085 w 7454190"/>
              <a:gd name="connsiteY1" fmla="*/ 1865376 h 3562502"/>
              <a:gd name="connsiteX2" fmla="*/ 1009498 w 7454190"/>
              <a:gd name="connsiteY2" fmla="*/ 1236269 h 3562502"/>
              <a:gd name="connsiteX3" fmla="*/ 1294790 w 7454190"/>
              <a:gd name="connsiteY3" fmla="*/ 3562502 h 3562502"/>
              <a:gd name="connsiteX4" fmla="*/ 1587398 w 7454190"/>
              <a:gd name="connsiteY4" fmla="*/ 14630 h 3562502"/>
              <a:gd name="connsiteX5" fmla="*/ 1865376 w 7454190"/>
              <a:gd name="connsiteY5" fmla="*/ 2238450 h 3562502"/>
              <a:gd name="connsiteX6" fmla="*/ 2038831 w 7454190"/>
              <a:gd name="connsiteY6" fmla="*/ 1874957 h 3562502"/>
              <a:gd name="connsiteX7" fmla="*/ 3457980 w 7454190"/>
              <a:gd name="connsiteY7" fmla="*/ 1889588 h 3562502"/>
              <a:gd name="connsiteX8" fmla="*/ 2472538 w 7454190"/>
              <a:gd name="connsiteY8" fmla="*/ 416966 h 3562502"/>
              <a:gd name="connsiteX9" fmla="*/ 3160166 w 7454190"/>
              <a:gd name="connsiteY9" fmla="*/ 21945 h 3562502"/>
              <a:gd name="connsiteX10" fmla="*/ 3803904 w 7454190"/>
              <a:gd name="connsiteY10" fmla="*/ 395020 h 3562502"/>
              <a:gd name="connsiteX11" fmla="*/ 4462272 w 7454190"/>
              <a:gd name="connsiteY11" fmla="*/ 7315 h 3562502"/>
              <a:gd name="connsiteX12" fmla="*/ 5113325 w 7454190"/>
              <a:gd name="connsiteY12" fmla="*/ 482803 h 3562502"/>
              <a:gd name="connsiteX13" fmla="*/ 4140402 w 7454190"/>
              <a:gd name="connsiteY13" fmla="*/ 1880007 h 3562502"/>
              <a:gd name="connsiteX14" fmla="*/ 5498920 w 7454190"/>
              <a:gd name="connsiteY14" fmla="*/ 1896902 h 3562502"/>
              <a:gd name="connsiteX15" fmla="*/ 5720487 w 7454190"/>
              <a:gd name="connsiteY15" fmla="*/ 2238450 h 3562502"/>
              <a:gd name="connsiteX16" fmla="*/ 6005780 w 7454190"/>
              <a:gd name="connsiteY16" fmla="*/ 0 h 3562502"/>
              <a:gd name="connsiteX17" fmla="*/ 6269127 w 7454190"/>
              <a:gd name="connsiteY17" fmla="*/ 3533241 h 3562502"/>
              <a:gd name="connsiteX18" fmla="*/ 6590995 w 7454190"/>
              <a:gd name="connsiteY18" fmla="*/ 1250899 h 3562502"/>
              <a:gd name="connsiteX19" fmla="*/ 6686093 w 7454190"/>
              <a:gd name="connsiteY19" fmla="*/ 1894636 h 3562502"/>
              <a:gd name="connsiteX20" fmla="*/ 7454190 w 7454190"/>
              <a:gd name="connsiteY20" fmla="*/ 1894637 h 3562502"/>
              <a:gd name="connsiteX0" fmla="*/ 0 w 7454190"/>
              <a:gd name="connsiteY0" fmla="*/ 1872690 h 3562502"/>
              <a:gd name="connsiteX1" fmla="*/ 907085 w 7454190"/>
              <a:gd name="connsiteY1" fmla="*/ 1865376 h 3562502"/>
              <a:gd name="connsiteX2" fmla="*/ 1009498 w 7454190"/>
              <a:gd name="connsiteY2" fmla="*/ 1236269 h 3562502"/>
              <a:gd name="connsiteX3" fmla="*/ 1294790 w 7454190"/>
              <a:gd name="connsiteY3" fmla="*/ 3562502 h 3562502"/>
              <a:gd name="connsiteX4" fmla="*/ 1587398 w 7454190"/>
              <a:gd name="connsiteY4" fmla="*/ 14630 h 3562502"/>
              <a:gd name="connsiteX5" fmla="*/ 1865376 w 7454190"/>
              <a:gd name="connsiteY5" fmla="*/ 2238450 h 3562502"/>
              <a:gd name="connsiteX6" fmla="*/ 2038831 w 7454190"/>
              <a:gd name="connsiteY6" fmla="*/ 1874957 h 3562502"/>
              <a:gd name="connsiteX7" fmla="*/ 3457980 w 7454190"/>
              <a:gd name="connsiteY7" fmla="*/ 1889588 h 3562502"/>
              <a:gd name="connsiteX8" fmla="*/ 2472538 w 7454190"/>
              <a:gd name="connsiteY8" fmla="*/ 416966 h 3562502"/>
              <a:gd name="connsiteX9" fmla="*/ 3160166 w 7454190"/>
              <a:gd name="connsiteY9" fmla="*/ 21945 h 3562502"/>
              <a:gd name="connsiteX10" fmla="*/ 3803904 w 7454190"/>
              <a:gd name="connsiteY10" fmla="*/ 395020 h 3562502"/>
              <a:gd name="connsiteX11" fmla="*/ 4462272 w 7454190"/>
              <a:gd name="connsiteY11" fmla="*/ 7315 h 3562502"/>
              <a:gd name="connsiteX12" fmla="*/ 5113325 w 7454190"/>
              <a:gd name="connsiteY12" fmla="*/ 482803 h 3562502"/>
              <a:gd name="connsiteX13" fmla="*/ 4140402 w 7454190"/>
              <a:gd name="connsiteY13" fmla="*/ 1880007 h 3562502"/>
              <a:gd name="connsiteX14" fmla="*/ 5498920 w 7454190"/>
              <a:gd name="connsiteY14" fmla="*/ 1896902 h 3562502"/>
              <a:gd name="connsiteX15" fmla="*/ 5720487 w 7454190"/>
              <a:gd name="connsiteY15" fmla="*/ 2238450 h 3562502"/>
              <a:gd name="connsiteX16" fmla="*/ 6005780 w 7454190"/>
              <a:gd name="connsiteY16" fmla="*/ 0 h 3562502"/>
              <a:gd name="connsiteX17" fmla="*/ 6269127 w 7454190"/>
              <a:gd name="connsiteY17" fmla="*/ 3533241 h 3562502"/>
              <a:gd name="connsiteX18" fmla="*/ 6590995 w 7454190"/>
              <a:gd name="connsiteY18" fmla="*/ 1250899 h 3562502"/>
              <a:gd name="connsiteX19" fmla="*/ 6686093 w 7454190"/>
              <a:gd name="connsiteY19" fmla="*/ 1894636 h 3562502"/>
              <a:gd name="connsiteX20" fmla="*/ 7454190 w 7454190"/>
              <a:gd name="connsiteY20" fmla="*/ 1894637 h 3562502"/>
              <a:gd name="connsiteX0" fmla="*/ 0 w 7454190"/>
              <a:gd name="connsiteY0" fmla="*/ 1872690 h 3562502"/>
              <a:gd name="connsiteX1" fmla="*/ 907085 w 7454190"/>
              <a:gd name="connsiteY1" fmla="*/ 1865376 h 3562502"/>
              <a:gd name="connsiteX2" fmla="*/ 1009498 w 7454190"/>
              <a:gd name="connsiteY2" fmla="*/ 1236269 h 3562502"/>
              <a:gd name="connsiteX3" fmla="*/ 1294790 w 7454190"/>
              <a:gd name="connsiteY3" fmla="*/ 3562502 h 3562502"/>
              <a:gd name="connsiteX4" fmla="*/ 1587398 w 7454190"/>
              <a:gd name="connsiteY4" fmla="*/ 14630 h 3562502"/>
              <a:gd name="connsiteX5" fmla="*/ 1865376 w 7454190"/>
              <a:gd name="connsiteY5" fmla="*/ 2238450 h 3562502"/>
              <a:gd name="connsiteX6" fmla="*/ 2038831 w 7454190"/>
              <a:gd name="connsiteY6" fmla="*/ 1874957 h 3562502"/>
              <a:gd name="connsiteX7" fmla="*/ 3457980 w 7454190"/>
              <a:gd name="connsiteY7" fmla="*/ 1889588 h 3562502"/>
              <a:gd name="connsiteX8" fmla="*/ 2472538 w 7454190"/>
              <a:gd name="connsiteY8" fmla="*/ 416966 h 3562502"/>
              <a:gd name="connsiteX9" fmla="*/ 3160166 w 7454190"/>
              <a:gd name="connsiteY9" fmla="*/ 21945 h 3562502"/>
              <a:gd name="connsiteX10" fmla="*/ 3803904 w 7454190"/>
              <a:gd name="connsiteY10" fmla="*/ 395020 h 3562502"/>
              <a:gd name="connsiteX11" fmla="*/ 4462272 w 7454190"/>
              <a:gd name="connsiteY11" fmla="*/ 7315 h 3562502"/>
              <a:gd name="connsiteX12" fmla="*/ 5113325 w 7454190"/>
              <a:gd name="connsiteY12" fmla="*/ 482803 h 3562502"/>
              <a:gd name="connsiteX13" fmla="*/ 4140402 w 7454190"/>
              <a:gd name="connsiteY13" fmla="*/ 1880007 h 3562502"/>
              <a:gd name="connsiteX14" fmla="*/ 5498920 w 7454190"/>
              <a:gd name="connsiteY14" fmla="*/ 1896902 h 3562502"/>
              <a:gd name="connsiteX15" fmla="*/ 5720487 w 7454190"/>
              <a:gd name="connsiteY15" fmla="*/ 2238450 h 3562502"/>
              <a:gd name="connsiteX16" fmla="*/ 6005780 w 7454190"/>
              <a:gd name="connsiteY16" fmla="*/ 0 h 3562502"/>
              <a:gd name="connsiteX17" fmla="*/ 6269127 w 7454190"/>
              <a:gd name="connsiteY17" fmla="*/ 3533241 h 3562502"/>
              <a:gd name="connsiteX18" fmla="*/ 6590995 w 7454190"/>
              <a:gd name="connsiteY18" fmla="*/ 1250899 h 3562502"/>
              <a:gd name="connsiteX19" fmla="*/ 6686093 w 7454190"/>
              <a:gd name="connsiteY19" fmla="*/ 1894636 h 3562502"/>
              <a:gd name="connsiteX20" fmla="*/ 7454190 w 7454190"/>
              <a:gd name="connsiteY20" fmla="*/ 1894637 h 3562502"/>
              <a:gd name="connsiteX0" fmla="*/ 0 w 7454190"/>
              <a:gd name="connsiteY0" fmla="*/ 1872690 h 3562502"/>
              <a:gd name="connsiteX1" fmla="*/ 907085 w 7454190"/>
              <a:gd name="connsiteY1" fmla="*/ 1865376 h 3562502"/>
              <a:gd name="connsiteX2" fmla="*/ 1009498 w 7454190"/>
              <a:gd name="connsiteY2" fmla="*/ 1236269 h 3562502"/>
              <a:gd name="connsiteX3" fmla="*/ 1294790 w 7454190"/>
              <a:gd name="connsiteY3" fmla="*/ 3562502 h 3562502"/>
              <a:gd name="connsiteX4" fmla="*/ 1587398 w 7454190"/>
              <a:gd name="connsiteY4" fmla="*/ 14630 h 3562502"/>
              <a:gd name="connsiteX5" fmla="*/ 1865376 w 7454190"/>
              <a:gd name="connsiteY5" fmla="*/ 2238450 h 3562502"/>
              <a:gd name="connsiteX6" fmla="*/ 2038831 w 7454190"/>
              <a:gd name="connsiteY6" fmla="*/ 1874957 h 3562502"/>
              <a:gd name="connsiteX7" fmla="*/ 3457980 w 7454190"/>
              <a:gd name="connsiteY7" fmla="*/ 1889588 h 3562502"/>
              <a:gd name="connsiteX8" fmla="*/ 2472538 w 7454190"/>
              <a:gd name="connsiteY8" fmla="*/ 416966 h 3562502"/>
              <a:gd name="connsiteX9" fmla="*/ 3160166 w 7454190"/>
              <a:gd name="connsiteY9" fmla="*/ 21945 h 3562502"/>
              <a:gd name="connsiteX10" fmla="*/ 3803904 w 7454190"/>
              <a:gd name="connsiteY10" fmla="*/ 395020 h 3562502"/>
              <a:gd name="connsiteX11" fmla="*/ 4462272 w 7454190"/>
              <a:gd name="connsiteY11" fmla="*/ 7315 h 3562502"/>
              <a:gd name="connsiteX12" fmla="*/ 5171847 w 7454190"/>
              <a:gd name="connsiteY12" fmla="*/ 482803 h 3562502"/>
              <a:gd name="connsiteX13" fmla="*/ 4140402 w 7454190"/>
              <a:gd name="connsiteY13" fmla="*/ 1880007 h 3562502"/>
              <a:gd name="connsiteX14" fmla="*/ 5498920 w 7454190"/>
              <a:gd name="connsiteY14" fmla="*/ 1896902 h 3562502"/>
              <a:gd name="connsiteX15" fmla="*/ 5720487 w 7454190"/>
              <a:gd name="connsiteY15" fmla="*/ 2238450 h 3562502"/>
              <a:gd name="connsiteX16" fmla="*/ 6005780 w 7454190"/>
              <a:gd name="connsiteY16" fmla="*/ 0 h 3562502"/>
              <a:gd name="connsiteX17" fmla="*/ 6269127 w 7454190"/>
              <a:gd name="connsiteY17" fmla="*/ 3533241 h 3562502"/>
              <a:gd name="connsiteX18" fmla="*/ 6590995 w 7454190"/>
              <a:gd name="connsiteY18" fmla="*/ 1250899 h 3562502"/>
              <a:gd name="connsiteX19" fmla="*/ 6686093 w 7454190"/>
              <a:gd name="connsiteY19" fmla="*/ 1894636 h 3562502"/>
              <a:gd name="connsiteX20" fmla="*/ 7454190 w 7454190"/>
              <a:gd name="connsiteY20" fmla="*/ 1894637 h 3562502"/>
              <a:gd name="connsiteX0" fmla="*/ 0 w 7454190"/>
              <a:gd name="connsiteY0" fmla="*/ 1872690 h 3562502"/>
              <a:gd name="connsiteX1" fmla="*/ 907085 w 7454190"/>
              <a:gd name="connsiteY1" fmla="*/ 1865376 h 3562502"/>
              <a:gd name="connsiteX2" fmla="*/ 1009498 w 7454190"/>
              <a:gd name="connsiteY2" fmla="*/ 1236269 h 3562502"/>
              <a:gd name="connsiteX3" fmla="*/ 1294790 w 7454190"/>
              <a:gd name="connsiteY3" fmla="*/ 3562502 h 3562502"/>
              <a:gd name="connsiteX4" fmla="*/ 1587398 w 7454190"/>
              <a:gd name="connsiteY4" fmla="*/ 14630 h 3562502"/>
              <a:gd name="connsiteX5" fmla="*/ 1865376 w 7454190"/>
              <a:gd name="connsiteY5" fmla="*/ 2238450 h 3562502"/>
              <a:gd name="connsiteX6" fmla="*/ 2038831 w 7454190"/>
              <a:gd name="connsiteY6" fmla="*/ 1874957 h 3562502"/>
              <a:gd name="connsiteX7" fmla="*/ 3457980 w 7454190"/>
              <a:gd name="connsiteY7" fmla="*/ 1889588 h 3562502"/>
              <a:gd name="connsiteX8" fmla="*/ 2472538 w 7454190"/>
              <a:gd name="connsiteY8" fmla="*/ 460857 h 3562502"/>
              <a:gd name="connsiteX9" fmla="*/ 3160166 w 7454190"/>
              <a:gd name="connsiteY9" fmla="*/ 21945 h 3562502"/>
              <a:gd name="connsiteX10" fmla="*/ 3803904 w 7454190"/>
              <a:gd name="connsiteY10" fmla="*/ 395020 h 3562502"/>
              <a:gd name="connsiteX11" fmla="*/ 4462272 w 7454190"/>
              <a:gd name="connsiteY11" fmla="*/ 7315 h 3562502"/>
              <a:gd name="connsiteX12" fmla="*/ 5171847 w 7454190"/>
              <a:gd name="connsiteY12" fmla="*/ 482803 h 3562502"/>
              <a:gd name="connsiteX13" fmla="*/ 4140402 w 7454190"/>
              <a:gd name="connsiteY13" fmla="*/ 1880007 h 3562502"/>
              <a:gd name="connsiteX14" fmla="*/ 5498920 w 7454190"/>
              <a:gd name="connsiteY14" fmla="*/ 1896902 h 3562502"/>
              <a:gd name="connsiteX15" fmla="*/ 5720487 w 7454190"/>
              <a:gd name="connsiteY15" fmla="*/ 2238450 h 3562502"/>
              <a:gd name="connsiteX16" fmla="*/ 6005780 w 7454190"/>
              <a:gd name="connsiteY16" fmla="*/ 0 h 3562502"/>
              <a:gd name="connsiteX17" fmla="*/ 6269127 w 7454190"/>
              <a:gd name="connsiteY17" fmla="*/ 3533241 h 3562502"/>
              <a:gd name="connsiteX18" fmla="*/ 6590995 w 7454190"/>
              <a:gd name="connsiteY18" fmla="*/ 1250899 h 3562502"/>
              <a:gd name="connsiteX19" fmla="*/ 6686093 w 7454190"/>
              <a:gd name="connsiteY19" fmla="*/ 1894636 h 3562502"/>
              <a:gd name="connsiteX20" fmla="*/ 7454190 w 7454190"/>
              <a:gd name="connsiteY20" fmla="*/ 1894637 h 3562502"/>
              <a:gd name="connsiteX0" fmla="*/ 0 w 7454190"/>
              <a:gd name="connsiteY0" fmla="*/ 1872690 h 3562502"/>
              <a:gd name="connsiteX1" fmla="*/ 907085 w 7454190"/>
              <a:gd name="connsiteY1" fmla="*/ 1865376 h 3562502"/>
              <a:gd name="connsiteX2" fmla="*/ 1009498 w 7454190"/>
              <a:gd name="connsiteY2" fmla="*/ 1236269 h 3562502"/>
              <a:gd name="connsiteX3" fmla="*/ 1294790 w 7454190"/>
              <a:gd name="connsiteY3" fmla="*/ 3562502 h 3562502"/>
              <a:gd name="connsiteX4" fmla="*/ 1587398 w 7454190"/>
              <a:gd name="connsiteY4" fmla="*/ 14630 h 3562502"/>
              <a:gd name="connsiteX5" fmla="*/ 1865376 w 7454190"/>
              <a:gd name="connsiteY5" fmla="*/ 2238450 h 3562502"/>
              <a:gd name="connsiteX6" fmla="*/ 2038831 w 7454190"/>
              <a:gd name="connsiteY6" fmla="*/ 1874957 h 3562502"/>
              <a:gd name="connsiteX7" fmla="*/ 3457980 w 7454190"/>
              <a:gd name="connsiteY7" fmla="*/ 1889588 h 3562502"/>
              <a:gd name="connsiteX8" fmla="*/ 2472538 w 7454190"/>
              <a:gd name="connsiteY8" fmla="*/ 490118 h 3562502"/>
              <a:gd name="connsiteX9" fmla="*/ 3160166 w 7454190"/>
              <a:gd name="connsiteY9" fmla="*/ 21945 h 3562502"/>
              <a:gd name="connsiteX10" fmla="*/ 3803904 w 7454190"/>
              <a:gd name="connsiteY10" fmla="*/ 395020 h 3562502"/>
              <a:gd name="connsiteX11" fmla="*/ 4462272 w 7454190"/>
              <a:gd name="connsiteY11" fmla="*/ 7315 h 3562502"/>
              <a:gd name="connsiteX12" fmla="*/ 5171847 w 7454190"/>
              <a:gd name="connsiteY12" fmla="*/ 482803 h 3562502"/>
              <a:gd name="connsiteX13" fmla="*/ 4140402 w 7454190"/>
              <a:gd name="connsiteY13" fmla="*/ 1880007 h 3562502"/>
              <a:gd name="connsiteX14" fmla="*/ 5498920 w 7454190"/>
              <a:gd name="connsiteY14" fmla="*/ 1896902 h 3562502"/>
              <a:gd name="connsiteX15" fmla="*/ 5720487 w 7454190"/>
              <a:gd name="connsiteY15" fmla="*/ 2238450 h 3562502"/>
              <a:gd name="connsiteX16" fmla="*/ 6005780 w 7454190"/>
              <a:gd name="connsiteY16" fmla="*/ 0 h 3562502"/>
              <a:gd name="connsiteX17" fmla="*/ 6269127 w 7454190"/>
              <a:gd name="connsiteY17" fmla="*/ 3533241 h 3562502"/>
              <a:gd name="connsiteX18" fmla="*/ 6590995 w 7454190"/>
              <a:gd name="connsiteY18" fmla="*/ 1250899 h 3562502"/>
              <a:gd name="connsiteX19" fmla="*/ 6686093 w 7454190"/>
              <a:gd name="connsiteY19" fmla="*/ 1894636 h 3562502"/>
              <a:gd name="connsiteX20" fmla="*/ 7454190 w 7454190"/>
              <a:gd name="connsiteY20" fmla="*/ 1894637 h 3562502"/>
              <a:gd name="connsiteX0" fmla="*/ 0 w 7454190"/>
              <a:gd name="connsiteY0" fmla="*/ 1872690 h 3562502"/>
              <a:gd name="connsiteX1" fmla="*/ 907085 w 7454190"/>
              <a:gd name="connsiteY1" fmla="*/ 1865376 h 3562502"/>
              <a:gd name="connsiteX2" fmla="*/ 1009498 w 7454190"/>
              <a:gd name="connsiteY2" fmla="*/ 1236269 h 3562502"/>
              <a:gd name="connsiteX3" fmla="*/ 1294790 w 7454190"/>
              <a:gd name="connsiteY3" fmla="*/ 3562502 h 3562502"/>
              <a:gd name="connsiteX4" fmla="*/ 1587398 w 7454190"/>
              <a:gd name="connsiteY4" fmla="*/ 14630 h 3562502"/>
              <a:gd name="connsiteX5" fmla="*/ 1865376 w 7454190"/>
              <a:gd name="connsiteY5" fmla="*/ 2238450 h 3562502"/>
              <a:gd name="connsiteX6" fmla="*/ 2038831 w 7454190"/>
              <a:gd name="connsiteY6" fmla="*/ 1874957 h 3562502"/>
              <a:gd name="connsiteX7" fmla="*/ 3457980 w 7454190"/>
              <a:gd name="connsiteY7" fmla="*/ 1889588 h 3562502"/>
              <a:gd name="connsiteX8" fmla="*/ 2472538 w 7454190"/>
              <a:gd name="connsiteY8" fmla="*/ 490118 h 3562502"/>
              <a:gd name="connsiteX9" fmla="*/ 3160166 w 7454190"/>
              <a:gd name="connsiteY9" fmla="*/ 21945 h 3562502"/>
              <a:gd name="connsiteX10" fmla="*/ 3803904 w 7454190"/>
              <a:gd name="connsiteY10" fmla="*/ 395020 h 3562502"/>
              <a:gd name="connsiteX11" fmla="*/ 4462272 w 7454190"/>
              <a:gd name="connsiteY11" fmla="*/ 7315 h 3562502"/>
              <a:gd name="connsiteX12" fmla="*/ 5171847 w 7454190"/>
              <a:gd name="connsiteY12" fmla="*/ 482803 h 3562502"/>
              <a:gd name="connsiteX13" fmla="*/ 4140402 w 7454190"/>
              <a:gd name="connsiteY13" fmla="*/ 1880007 h 3562502"/>
              <a:gd name="connsiteX14" fmla="*/ 5498920 w 7454190"/>
              <a:gd name="connsiteY14" fmla="*/ 1896902 h 3562502"/>
              <a:gd name="connsiteX15" fmla="*/ 5720487 w 7454190"/>
              <a:gd name="connsiteY15" fmla="*/ 2238450 h 3562502"/>
              <a:gd name="connsiteX16" fmla="*/ 6005780 w 7454190"/>
              <a:gd name="connsiteY16" fmla="*/ 0 h 3562502"/>
              <a:gd name="connsiteX17" fmla="*/ 6269127 w 7454190"/>
              <a:gd name="connsiteY17" fmla="*/ 3533241 h 3562502"/>
              <a:gd name="connsiteX18" fmla="*/ 6590995 w 7454190"/>
              <a:gd name="connsiteY18" fmla="*/ 1250899 h 3562502"/>
              <a:gd name="connsiteX19" fmla="*/ 6686093 w 7454190"/>
              <a:gd name="connsiteY19" fmla="*/ 1894636 h 3562502"/>
              <a:gd name="connsiteX20" fmla="*/ 7454190 w 7454190"/>
              <a:gd name="connsiteY20" fmla="*/ 1894637 h 3562502"/>
              <a:gd name="connsiteX0" fmla="*/ 0 w 7454190"/>
              <a:gd name="connsiteY0" fmla="*/ 1872690 h 3562502"/>
              <a:gd name="connsiteX1" fmla="*/ 907085 w 7454190"/>
              <a:gd name="connsiteY1" fmla="*/ 1865376 h 3562502"/>
              <a:gd name="connsiteX2" fmla="*/ 1009498 w 7454190"/>
              <a:gd name="connsiteY2" fmla="*/ 1236269 h 3562502"/>
              <a:gd name="connsiteX3" fmla="*/ 1294790 w 7454190"/>
              <a:gd name="connsiteY3" fmla="*/ 3562502 h 3562502"/>
              <a:gd name="connsiteX4" fmla="*/ 1587398 w 7454190"/>
              <a:gd name="connsiteY4" fmla="*/ 14630 h 3562502"/>
              <a:gd name="connsiteX5" fmla="*/ 1865376 w 7454190"/>
              <a:gd name="connsiteY5" fmla="*/ 2238450 h 3562502"/>
              <a:gd name="connsiteX6" fmla="*/ 2038831 w 7454190"/>
              <a:gd name="connsiteY6" fmla="*/ 1874957 h 3562502"/>
              <a:gd name="connsiteX7" fmla="*/ 3457980 w 7454190"/>
              <a:gd name="connsiteY7" fmla="*/ 1889588 h 3562502"/>
              <a:gd name="connsiteX8" fmla="*/ 2472538 w 7454190"/>
              <a:gd name="connsiteY8" fmla="*/ 490118 h 3562502"/>
              <a:gd name="connsiteX9" fmla="*/ 3160166 w 7454190"/>
              <a:gd name="connsiteY9" fmla="*/ 21945 h 3562502"/>
              <a:gd name="connsiteX10" fmla="*/ 3803904 w 7454190"/>
              <a:gd name="connsiteY10" fmla="*/ 395020 h 3562502"/>
              <a:gd name="connsiteX11" fmla="*/ 4462272 w 7454190"/>
              <a:gd name="connsiteY11" fmla="*/ 7315 h 3562502"/>
              <a:gd name="connsiteX12" fmla="*/ 5171847 w 7454190"/>
              <a:gd name="connsiteY12" fmla="*/ 482803 h 3562502"/>
              <a:gd name="connsiteX13" fmla="*/ 4140402 w 7454190"/>
              <a:gd name="connsiteY13" fmla="*/ 1880007 h 3562502"/>
              <a:gd name="connsiteX14" fmla="*/ 5498920 w 7454190"/>
              <a:gd name="connsiteY14" fmla="*/ 1896902 h 3562502"/>
              <a:gd name="connsiteX15" fmla="*/ 5720487 w 7454190"/>
              <a:gd name="connsiteY15" fmla="*/ 2238450 h 3562502"/>
              <a:gd name="connsiteX16" fmla="*/ 6005780 w 7454190"/>
              <a:gd name="connsiteY16" fmla="*/ 0 h 3562502"/>
              <a:gd name="connsiteX17" fmla="*/ 6269127 w 7454190"/>
              <a:gd name="connsiteY17" fmla="*/ 3533241 h 3562502"/>
              <a:gd name="connsiteX18" fmla="*/ 6590995 w 7454190"/>
              <a:gd name="connsiteY18" fmla="*/ 1250899 h 3562502"/>
              <a:gd name="connsiteX19" fmla="*/ 6686093 w 7454190"/>
              <a:gd name="connsiteY19" fmla="*/ 1894636 h 3562502"/>
              <a:gd name="connsiteX20" fmla="*/ 7454190 w 7454190"/>
              <a:gd name="connsiteY20" fmla="*/ 1894637 h 3562502"/>
              <a:gd name="connsiteX0" fmla="*/ 0 w 7454190"/>
              <a:gd name="connsiteY0" fmla="*/ 1872690 h 3562502"/>
              <a:gd name="connsiteX1" fmla="*/ 907085 w 7454190"/>
              <a:gd name="connsiteY1" fmla="*/ 1865376 h 3562502"/>
              <a:gd name="connsiteX2" fmla="*/ 1009498 w 7454190"/>
              <a:gd name="connsiteY2" fmla="*/ 1236269 h 3562502"/>
              <a:gd name="connsiteX3" fmla="*/ 1294790 w 7454190"/>
              <a:gd name="connsiteY3" fmla="*/ 3562502 h 3562502"/>
              <a:gd name="connsiteX4" fmla="*/ 1587398 w 7454190"/>
              <a:gd name="connsiteY4" fmla="*/ 14630 h 3562502"/>
              <a:gd name="connsiteX5" fmla="*/ 1865376 w 7454190"/>
              <a:gd name="connsiteY5" fmla="*/ 2238450 h 3562502"/>
              <a:gd name="connsiteX6" fmla="*/ 2038831 w 7454190"/>
              <a:gd name="connsiteY6" fmla="*/ 1874957 h 3562502"/>
              <a:gd name="connsiteX7" fmla="*/ 3457980 w 7454190"/>
              <a:gd name="connsiteY7" fmla="*/ 1889588 h 3562502"/>
              <a:gd name="connsiteX8" fmla="*/ 2472538 w 7454190"/>
              <a:gd name="connsiteY8" fmla="*/ 490118 h 3562502"/>
              <a:gd name="connsiteX9" fmla="*/ 3160166 w 7454190"/>
              <a:gd name="connsiteY9" fmla="*/ 21945 h 3562502"/>
              <a:gd name="connsiteX10" fmla="*/ 3803904 w 7454190"/>
              <a:gd name="connsiteY10" fmla="*/ 395020 h 3562502"/>
              <a:gd name="connsiteX11" fmla="*/ 4462272 w 7454190"/>
              <a:gd name="connsiteY11" fmla="*/ 7315 h 3562502"/>
              <a:gd name="connsiteX12" fmla="*/ 5171847 w 7454190"/>
              <a:gd name="connsiteY12" fmla="*/ 482803 h 3562502"/>
              <a:gd name="connsiteX13" fmla="*/ 4140402 w 7454190"/>
              <a:gd name="connsiteY13" fmla="*/ 1880007 h 3562502"/>
              <a:gd name="connsiteX14" fmla="*/ 5498920 w 7454190"/>
              <a:gd name="connsiteY14" fmla="*/ 1896902 h 3562502"/>
              <a:gd name="connsiteX15" fmla="*/ 5720487 w 7454190"/>
              <a:gd name="connsiteY15" fmla="*/ 2238450 h 3562502"/>
              <a:gd name="connsiteX16" fmla="*/ 6005780 w 7454190"/>
              <a:gd name="connsiteY16" fmla="*/ 0 h 3562502"/>
              <a:gd name="connsiteX17" fmla="*/ 6269127 w 7454190"/>
              <a:gd name="connsiteY17" fmla="*/ 3533241 h 3562502"/>
              <a:gd name="connsiteX18" fmla="*/ 6590995 w 7454190"/>
              <a:gd name="connsiteY18" fmla="*/ 1250899 h 3562502"/>
              <a:gd name="connsiteX19" fmla="*/ 6686093 w 7454190"/>
              <a:gd name="connsiteY19" fmla="*/ 1894636 h 3562502"/>
              <a:gd name="connsiteX20" fmla="*/ 7454190 w 7454190"/>
              <a:gd name="connsiteY20" fmla="*/ 1894637 h 3562502"/>
              <a:gd name="connsiteX0" fmla="*/ 0 w 7454190"/>
              <a:gd name="connsiteY0" fmla="*/ 1872690 h 3562502"/>
              <a:gd name="connsiteX1" fmla="*/ 907085 w 7454190"/>
              <a:gd name="connsiteY1" fmla="*/ 1865376 h 3562502"/>
              <a:gd name="connsiteX2" fmla="*/ 1009498 w 7454190"/>
              <a:gd name="connsiteY2" fmla="*/ 1236269 h 3562502"/>
              <a:gd name="connsiteX3" fmla="*/ 1294790 w 7454190"/>
              <a:gd name="connsiteY3" fmla="*/ 3562502 h 3562502"/>
              <a:gd name="connsiteX4" fmla="*/ 1587398 w 7454190"/>
              <a:gd name="connsiteY4" fmla="*/ 14630 h 3562502"/>
              <a:gd name="connsiteX5" fmla="*/ 1865376 w 7454190"/>
              <a:gd name="connsiteY5" fmla="*/ 2238450 h 3562502"/>
              <a:gd name="connsiteX6" fmla="*/ 2038831 w 7454190"/>
              <a:gd name="connsiteY6" fmla="*/ 1874957 h 3562502"/>
              <a:gd name="connsiteX7" fmla="*/ 3457980 w 7454190"/>
              <a:gd name="connsiteY7" fmla="*/ 1889588 h 3562502"/>
              <a:gd name="connsiteX8" fmla="*/ 2472538 w 7454190"/>
              <a:gd name="connsiteY8" fmla="*/ 490118 h 3562502"/>
              <a:gd name="connsiteX9" fmla="*/ 3160166 w 7454190"/>
              <a:gd name="connsiteY9" fmla="*/ 21945 h 3562502"/>
              <a:gd name="connsiteX10" fmla="*/ 3803904 w 7454190"/>
              <a:gd name="connsiteY10" fmla="*/ 395020 h 3562502"/>
              <a:gd name="connsiteX11" fmla="*/ 4462272 w 7454190"/>
              <a:gd name="connsiteY11" fmla="*/ 7315 h 3562502"/>
              <a:gd name="connsiteX12" fmla="*/ 5171847 w 7454190"/>
              <a:gd name="connsiteY12" fmla="*/ 482803 h 3562502"/>
              <a:gd name="connsiteX13" fmla="*/ 4140402 w 7454190"/>
              <a:gd name="connsiteY13" fmla="*/ 1880007 h 3562502"/>
              <a:gd name="connsiteX14" fmla="*/ 5498920 w 7454190"/>
              <a:gd name="connsiteY14" fmla="*/ 1896902 h 3562502"/>
              <a:gd name="connsiteX15" fmla="*/ 5720487 w 7454190"/>
              <a:gd name="connsiteY15" fmla="*/ 2238450 h 3562502"/>
              <a:gd name="connsiteX16" fmla="*/ 6005780 w 7454190"/>
              <a:gd name="connsiteY16" fmla="*/ 0 h 3562502"/>
              <a:gd name="connsiteX17" fmla="*/ 6269127 w 7454190"/>
              <a:gd name="connsiteY17" fmla="*/ 3533241 h 3562502"/>
              <a:gd name="connsiteX18" fmla="*/ 6590995 w 7454190"/>
              <a:gd name="connsiteY18" fmla="*/ 1250899 h 3562502"/>
              <a:gd name="connsiteX19" fmla="*/ 6686093 w 7454190"/>
              <a:gd name="connsiteY19" fmla="*/ 1894636 h 3562502"/>
              <a:gd name="connsiteX20" fmla="*/ 7454190 w 7454190"/>
              <a:gd name="connsiteY20" fmla="*/ 1894637 h 3562502"/>
              <a:gd name="connsiteX0" fmla="*/ 0 w 7454190"/>
              <a:gd name="connsiteY0" fmla="*/ 1872690 h 3562502"/>
              <a:gd name="connsiteX1" fmla="*/ 907085 w 7454190"/>
              <a:gd name="connsiteY1" fmla="*/ 1865376 h 3562502"/>
              <a:gd name="connsiteX2" fmla="*/ 1009498 w 7454190"/>
              <a:gd name="connsiteY2" fmla="*/ 1236269 h 3562502"/>
              <a:gd name="connsiteX3" fmla="*/ 1294790 w 7454190"/>
              <a:gd name="connsiteY3" fmla="*/ 3562502 h 3562502"/>
              <a:gd name="connsiteX4" fmla="*/ 1587398 w 7454190"/>
              <a:gd name="connsiteY4" fmla="*/ 14630 h 3562502"/>
              <a:gd name="connsiteX5" fmla="*/ 1865376 w 7454190"/>
              <a:gd name="connsiteY5" fmla="*/ 2238450 h 3562502"/>
              <a:gd name="connsiteX6" fmla="*/ 2038831 w 7454190"/>
              <a:gd name="connsiteY6" fmla="*/ 1874957 h 3562502"/>
              <a:gd name="connsiteX7" fmla="*/ 3457980 w 7454190"/>
              <a:gd name="connsiteY7" fmla="*/ 1889588 h 3562502"/>
              <a:gd name="connsiteX8" fmla="*/ 2472538 w 7454190"/>
              <a:gd name="connsiteY8" fmla="*/ 490118 h 3562502"/>
              <a:gd name="connsiteX9" fmla="*/ 3160166 w 7454190"/>
              <a:gd name="connsiteY9" fmla="*/ 21945 h 3562502"/>
              <a:gd name="connsiteX10" fmla="*/ 3803904 w 7454190"/>
              <a:gd name="connsiteY10" fmla="*/ 395020 h 3562502"/>
              <a:gd name="connsiteX11" fmla="*/ 4462272 w 7454190"/>
              <a:gd name="connsiteY11" fmla="*/ 7315 h 3562502"/>
              <a:gd name="connsiteX12" fmla="*/ 5171847 w 7454190"/>
              <a:gd name="connsiteY12" fmla="*/ 482803 h 3562502"/>
              <a:gd name="connsiteX13" fmla="*/ 4140402 w 7454190"/>
              <a:gd name="connsiteY13" fmla="*/ 1880007 h 3562502"/>
              <a:gd name="connsiteX14" fmla="*/ 5498920 w 7454190"/>
              <a:gd name="connsiteY14" fmla="*/ 1896902 h 3562502"/>
              <a:gd name="connsiteX15" fmla="*/ 5720487 w 7454190"/>
              <a:gd name="connsiteY15" fmla="*/ 2238450 h 3562502"/>
              <a:gd name="connsiteX16" fmla="*/ 6005780 w 7454190"/>
              <a:gd name="connsiteY16" fmla="*/ 0 h 3562502"/>
              <a:gd name="connsiteX17" fmla="*/ 6269127 w 7454190"/>
              <a:gd name="connsiteY17" fmla="*/ 3533241 h 3562502"/>
              <a:gd name="connsiteX18" fmla="*/ 6590995 w 7454190"/>
              <a:gd name="connsiteY18" fmla="*/ 1250899 h 3562502"/>
              <a:gd name="connsiteX19" fmla="*/ 6686093 w 7454190"/>
              <a:gd name="connsiteY19" fmla="*/ 1894636 h 3562502"/>
              <a:gd name="connsiteX20" fmla="*/ 7454190 w 7454190"/>
              <a:gd name="connsiteY20" fmla="*/ 1894637 h 3562502"/>
              <a:gd name="connsiteX0" fmla="*/ 0 w 7454190"/>
              <a:gd name="connsiteY0" fmla="*/ 1872690 h 3562502"/>
              <a:gd name="connsiteX1" fmla="*/ 907085 w 7454190"/>
              <a:gd name="connsiteY1" fmla="*/ 1865376 h 3562502"/>
              <a:gd name="connsiteX2" fmla="*/ 1009498 w 7454190"/>
              <a:gd name="connsiteY2" fmla="*/ 1236269 h 3562502"/>
              <a:gd name="connsiteX3" fmla="*/ 1294790 w 7454190"/>
              <a:gd name="connsiteY3" fmla="*/ 3562502 h 3562502"/>
              <a:gd name="connsiteX4" fmla="*/ 1587398 w 7454190"/>
              <a:gd name="connsiteY4" fmla="*/ 14630 h 3562502"/>
              <a:gd name="connsiteX5" fmla="*/ 1865376 w 7454190"/>
              <a:gd name="connsiteY5" fmla="*/ 2238450 h 3562502"/>
              <a:gd name="connsiteX6" fmla="*/ 2038831 w 7454190"/>
              <a:gd name="connsiteY6" fmla="*/ 1874957 h 3562502"/>
              <a:gd name="connsiteX7" fmla="*/ 3457980 w 7454190"/>
              <a:gd name="connsiteY7" fmla="*/ 1889588 h 3562502"/>
              <a:gd name="connsiteX8" fmla="*/ 2472538 w 7454190"/>
              <a:gd name="connsiteY8" fmla="*/ 490118 h 3562502"/>
              <a:gd name="connsiteX9" fmla="*/ 3160166 w 7454190"/>
              <a:gd name="connsiteY9" fmla="*/ 21945 h 3562502"/>
              <a:gd name="connsiteX10" fmla="*/ 3803904 w 7454190"/>
              <a:gd name="connsiteY10" fmla="*/ 395020 h 3562502"/>
              <a:gd name="connsiteX11" fmla="*/ 4462272 w 7454190"/>
              <a:gd name="connsiteY11" fmla="*/ 7315 h 3562502"/>
              <a:gd name="connsiteX12" fmla="*/ 5171847 w 7454190"/>
              <a:gd name="connsiteY12" fmla="*/ 482803 h 3562502"/>
              <a:gd name="connsiteX13" fmla="*/ 4140402 w 7454190"/>
              <a:gd name="connsiteY13" fmla="*/ 1880007 h 3562502"/>
              <a:gd name="connsiteX14" fmla="*/ 5498920 w 7454190"/>
              <a:gd name="connsiteY14" fmla="*/ 1896902 h 3562502"/>
              <a:gd name="connsiteX15" fmla="*/ 5720487 w 7454190"/>
              <a:gd name="connsiteY15" fmla="*/ 2238450 h 3562502"/>
              <a:gd name="connsiteX16" fmla="*/ 6005780 w 7454190"/>
              <a:gd name="connsiteY16" fmla="*/ 0 h 3562502"/>
              <a:gd name="connsiteX17" fmla="*/ 6269127 w 7454190"/>
              <a:gd name="connsiteY17" fmla="*/ 3533241 h 3562502"/>
              <a:gd name="connsiteX18" fmla="*/ 6590995 w 7454190"/>
              <a:gd name="connsiteY18" fmla="*/ 1250899 h 3562502"/>
              <a:gd name="connsiteX19" fmla="*/ 6686093 w 7454190"/>
              <a:gd name="connsiteY19" fmla="*/ 1894636 h 3562502"/>
              <a:gd name="connsiteX20" fmla="*/ 7454190 w 7454190"/>
              <a:gd name="connsiteY20" fmla="*/ 1894637 h 3562502"/>
              <a:gd name="connsiteX0" fmla="*/ 0 w 7454190"/>
              <a:gd name="connsiteY0" fmla="*/ 1872690 h 3562502"/>
              <a:gd name="connsiteX1" fmla="*/ 907085 w 7454190"/>
              <a:gd name="connsiteY1" fmla="*/ 1865376 h 3562502"/>
              <a:gd name="connsiteX2" fmla="*/ 1009498 w 7454190"/>
              <a:gd name="connsiteY2" fmla="*/ 1236269 h 3562502"/>
              <a:gd name="connsiteX3" fmla="*/ 1294790 w 7454190"/>
              <a:gd name="connsiteY3" fmla="*/ 3562502 h 3562502"/>
              <a:gd name="connsiteX4" fmla="*/ 1587398 w 7454190"/>
              <a:gd name="connsiteY4" fmla="*/ 14630 h 3562502"/>
              <a:gd name="connsiteX5" fmla="*/ 1865376 w 7454190"/>
              <a:gd name="connsiteY5" fmla="*/ 2238450 h 3562502"/>
              <a:gd name="connsiteX6" fmla="*/ 2038831 w 7454190"/>
              <a:gd name="connsiteY6" fmla="*/ 1874957 h 3562502"/>
              <a:gd name="connsiteX7" fmla="*/ 3457980 w 7454190"/>
              <a:gd name="connsiteY7" fmla="*/ 1889588 h 3562502"/>
              <a:gd name="connsiteX8" fmla="*/ 2472538 w 7454190"/>
              <a:gd name="connsiteY8" fmla="*/ 490118 h 3562502"/>
              <a:gd name="connsiteX9" fmla="*/ 3160166 w 7454190"/>
              <a:gd name="connsiteY9" fmla="*/ 21945 h 3562502"/>
              <a:gd name="connsiteX10" fmla="*/ 3803904 w 7454190"/>
              <a:gd name="connsiteY10" fmla="*/ 395020 h 3562502"/>
              <a:gd name="connsiteX11" fmla="*/ 4462272 w 7454190"/>
              <a:gd name="connsiteY11" fmla="*/ 7315 h 3562502"/>
              <a:gd name="connsiteX12" fmla="*/ 5171847 w 7454190"/>
              <a:gd name="connsiteY12" fmla="*/ 482803 h 3562502"/>
              <a:gd name="connsiteX13" fmla="*/ 4140402 w 7454190"/>
              <a:gd name="connsiteY13" fmla="*/ 1880007 h 3562502"/>
              <a:gd name="connsiteX14" fmla="*/ 5498920 w 7454190"/>
              <a:gd name="connsiteY14" fmla="*/ 1896902 h 3562502"/>
              <a:gd name="connsiteX15" fmla="*/ 5720487 w 7454190"/>
              <a:gd name="connsiteY15" fmla="*/ 2238450 h 3562502"/>
              <a:gd name="connsiteX16" fmla="*/ 6005780 w 7454190"/>
              <a:gd name="connsiteY16" fmla="*/ 0 h 3562502"/>
              <a:gd name="connsiteX17" fmla="*/ 6269127 w 7454190"/>
              <a:gd name="connsiteY17" fmla="*/ 3533241 h 3562502"/>
              <a:gd name="connsiteX18" fmla="*/ 6590995 w 7454190"/>
              <a:gd name="connsiteY18" fmla="*/ 1250899 h 3562502"/>
              <a:gd name="connsiteX19" fmla="*/ 6686093 w 7454190"/>
              <a:gd name="connsiteY19" fmla="*/ 1894636 h 3562502"/>
              <a:gd name="connsiteX20" fmla="*/ 7454190 w 7454190"/>
              <a:gd name="connsiteY20" fmla="*/ 1894637 h 3562502"/>
              <a:gd name="connsiteX0" fmla="*/ 0 w 7454190"/>
              <a:gd name="connsiteY0" fmla="*/ 1872690 h 3562502"/>
              <a:gd name="connsiteX1" fmla="*/ 907085 w 7454190"/>
              <a:gd name="connsiteY1" fmla="*/ 1865376 h 3562502"/>
              <a:gd name="connsiteX2" fmla="*/ 1009498 w 7454190"/>
              <a:gd name="connsiteY2" fmla="*/ 1236269 h 3562502"/>
              <a:gd name="connsiteX3" fmla="*/ 1294790 w 7454190"/>
              <a:gd name="connsiteY3" fmla="*/ 3562502 h 3562502"/>
              <a:gd name="connsiteX4" fmla="*/ 1587398 w 7454190"/>
              <a:gd name="connsiteY4" fmla="*/ 14630 h 3562502"/>
              <a:gd name="connsiteX5" fmla="*/ 1865376 w 7454190"/>
              <a:gd name="connsiteY5" fmla="*/ 2238450 h 3562502"/>
              <a:gd name="connsiteX6" fmla="*/ 2038831 w 7454190"/>
              <a:gd name="connsiteY6" fmla="*/ 1874957 h 3562502"/>
              <a:gd name="connsiteX7" fmla="*/ 3457980 w 7454190"/>
              <a:gd name="connsiteY7" fmla="*/ 1889588 h 3562502"/>
              <a:gd name="connsiteX8" fmla="*/ 2472538 w 7454190"/>
              <a:gd name="connsiteY8" fmla="*/ 490118 h 3562502"/>
              <a:gd name="connsiteX9" fmla="*/ 3160166 w 7454190"/>
              <a:gd name="connsiteY9" fmla="*/ 21945 h 3562502"/>
              <a:gd name="connsiteX10" fmla="*/ 3803904 w 7454190"/>
              <a:gd name="connsiteY10" fmla="*/ 395020 h 3562502"/>
              <a:gd name="connsiteX11" fmla="*/ 4462272 w 7454190"/>
              <a:gd name="connsiteY11" fmla="*/ 7315 h 3562502"/>
              <a:gd name="connsiteX12" fmla="*/ 5171847 w 7454190"/>
              <a:gd name="connsiteY12" fmla="*/ 482803 h 3562502"/>
              <a:gd name="connsiteX13" fmla="*/ 4140402 w 7454190"/>
              <a:gd name="connsiteY13" fmla="*/ 1880007 h 3562502"/>
              <a:gd name="connsiteX14" fmla="*/ 5498920 w 7454190"/>
              <a:gd name="connsiteY14" fmla="*/ 1896902 h 3562502"/>
              <a:gd name="connsiteX15" fmla="*/ 5720487 w 7454190"/>
              <a:gd name="connsiteY15" fmla="*/ 2238450 h 3562502"/>
              <a:gd name="connsiteX16" fmla="*/ 6005780 w 7454190"/>
              <a:gd name="connsiteY16" fmla="*/ 0 h 3562502"/>
              <a:gd name="connsiteX17" fmla="*/ 6269127 w 7454190"/>
              <a:gd name="connsiteY17" fmla="*/ 3533241 h 3562502"/>
              <a:gd name="connsiteX18" fmla="*/ 6590995 w 7454190"/>
              <a:gd name="connsiteY18" fmla="*/ 1250899 h 3562502"/>
              <a:gd name="connsiteX19" fmla="*/ 6686093 w 7454190"/>
              <a:gd name="connsiteY19" fmla="*/ 1894636 h 3562502"/>
              <a:gd name="connsiteX20" fmla="*/ 7454190 w 7454190"/>
              <a:gd name="connsiteY20" fmla="*/ 1894637 h 3562502"/>
              <a:gd name="connsiteX0" fmla="*/ 0 w 7454190"/>
              <a:gd name="connsiteY0" fmla="*/ 1872690 h 3562502"/>
              <a:gd name="connsiteX1" fmla="*/ 907085 w 7454190"/>
              <a:gd name="connsiteY1" fmla="*/ 1865376 h 3562502"/>
              <a:gd name="connsiteX2" fmla="*/ 1009498 w 7454190"/>
              <a:gd name="connsiteY2" fmla="*/ 1236269 h 3562502"/>
              <a:gd name="connsiteX3" fmla="*/ 1294790 w 7454190"/>
              <a:gd name="connsiteY3" fmla="*/ 3562502 h 3562502"/>
              <a:gd name="connsiteX4" fmla="*/ 1587398 w 7454190"/>
              <a:gd name="connsiteY4" fmla="*/ 14630 h 3562502"/>
              <a:gd name="connsiteX5" fmla="*/ 1865376 w 7454190"/>
              <a:gd name="connsiteY5" fmla="*/ 2238450 h 3562502"/>
              <a:gd name="connsiteX6" fmla="*/ 2038831 w 7454190"/>
              <a:gd name="connsiteY6" fmla="*/ 1874957 h 3562502"/>
              <a:gd name="connsiteX7" fmla="*/ 3457980 w 7454190"/>
              <a:gd name="connsiteY7" fmla="*/ 1889588 h 3562502"/>
              <a:gd name="connsiteX8" fmla="*/ 2472538 w 7454190"/>
              <a:gd name="connsiteY8" fmla="*/ 490118 h 3562502"/>
              <a:gd name="connsiteX9" fmla="*/ 3160166 w 7454190"/>
              <a:gd name="connsiteY9" fmla="*/ 21945 h 3562502"/>
              <a:gd name="connsiteX10" fmla="*/ 3803904 w 7454190"/>
              <a:gd name="connsiteY10" fmla="*/ 395020 h 3562502"/>
              <a:gd name="connsiteX11" fmla="*/ 4462272 w 7454190"/>
              <a:gd name="connsiteY11" fmla="*/ 7315 h 3562502"/>
              <a:gd name="connsiteX12" fmla="*/ 5171847 w 7454190"/>
              <a:gd name="connsiteY12" fmla="*/ 482803 h 3562502"/>
              <a:gd name="connsiteX13" fmla="*/ 4140402 w 7454190"/>
              <a:gd name="connsiteY13" fmla="*/ 1880007 h 3562502"/>
              <a:gd name="connsiteX14" fmla="*/ 5498920 w 7454190"/>
              <a:gd name="connsiteY14" fmla="*/ 1896902 h 3562502"/>
              <a:gd name="connsiteX15" fmla="*/ 5720487 w 7454190"/>
              <a:gd name="connsiteY15" fmla="*/ 2238450 h 3562502"/>
              <a:gd name="connsiteX16" fmla="*/ 6005780 w 7454190"/>
              <a:gd name="connsiteY16" fmla="*/ 0 h 3562502"/>
              <a:gd name="connsiteX17" fmla="*/ 6269127 w 7454190"/>
              <a:gd name="connsiteY17" fmla="*/ 3533241 h 3562502"/>
              <a:gd name="connsiteX18" fmla="*/ 6590995 w 7454190"/>
              <a:gd name="connsiteY18" fmla="*/ 1250899 h 3562502"/>
              <a:gd name="connsiteX19" fmla="*/ 6686093 w 7454190"/>
              <a:gd name="connsiteY19" fmla="*/ 1894636 h 3562502"/>
              <a:gd name="connsiteX20" fmla="*/ 7454190 w 7454190"/>
              <a:gd name="connsiteY20" fmla="*/ 1894637 h 3562502"/>
              <a:gd name="connsiteX0" fmla="*/ 0 w 7454190"/>
              <a:gd name="connsiteY0" fmla="*/ 1872690 h 3562502"/>
              <a:gd name="connsiteX1" fmla="*/ 907085 w 7454190"/>
              <a:gd name="connsiteY1" fmla="*/ 1865376 h 3562502"/>
              <a:gd name="connsiteX2" fmla="*/ 1009498 w 7454190"/>
              <a:gd name="connsiteY2" fmla="*/ 1236269 h 3562502"/>
              <a:gd name="connsiteX3" fmla="*/ 1294790 w 7454190"/>
              <a:gd name="connsiteY3" fmla="*/ 3562502 h 3562502"/>
              <a:gd name="connsiteX4" fmla="*/ 1587398 w 7454190"/>
              <a:gd name="connsiteY4" fmla="*/ 14630 h 3562502"/>
              <a:gd name="connsiteX5" fmla="*/ 1865376 w 7454190"/>
              <a:gd name="connsiteY5" fmla="*/ 2238450 h 3562502"/>
              <a:gd name="connsiteX6" fmla="*/ 2038831 w 7454190"/>
              <a:gd name="connsiteY6" fmla="*/ 1874957 h 3562502"/>
              <a:gd name="connsiteX7" fmla="*/ 3457980 w 7454190"/>
              <a:gd name="connsiteY7" fmla="*/ 1889588 h 3562502"/>
              <a:gd name="connsiteX8" fmla="*/ 2472538 w 7454190"/>
              <a:gd name="connsiteY8" fmla="*/ 490118 h 3562502"/>
              <a:gd name="connsiteX9" fmla="*/ 3160166 w 7454190"/>
              <a:gd name="connsiteY9" fmla="*/ 21945 h 3562502"/>
              <a:gd name="connsiteX10" fmla="*/ 3803904 w 7454190"/>
              <a:gd name="connsiteY10" fmla="*/ 395020 h 3562502"/>
              <a:gd name="connsiteX11" fmla="*/ 4462272 w 7454190"/>
              <a:gd name="connsiteY11" fmla="*/ 7315 h 3562502"/>
              <a:gd name="connsiteX12" fmla="*/ 5171847 w 7454190"/>
              <a:gd name="connsiteY12" fmla="*/ 482803 h 3562502"/>
              <a:gd name="connsiteX13" fmla="*/ 4140402 w 7454190"/>
              <a:gd name="connsiteY13" fmla="*/ 1880007 h 3562502"/>
              <a:gd name="connsiteX14" fmla="*/ 5498920 w 7454190"/>
              <a:gd name="connsiteY14" fmla="*/ 1896902 h 3562502"/>
              <a:gd name="connsiteX15" fmla="*/ 5720487 w 7454190"/>
              <a:gd name="connsiteY15" fmla="*/ 2238450 h 3562502"/>
              <a:gd name="connsiteX16" fmla="*/ 6005780 w 7454190"/>
              <a:gd name="connsiteY16" fmla="*/ 0 h 3562502"/>
              <a:gd name="connsiteX17" fmla="*/ 6269127 w 7454190"/>
              <a:gd name="connsiteY17" fmla="*/ 3533241 h 3562502"/>
              <a:gd name="connsiteX18" fmla="*/ 6590995 w 7454190"/>
              <a:gd name="connsiteY18" fmla="*/ 1250899 h 3562502"/>
              <a:gd name="connsiteX19" fmla="*/ 6686093 w 7454190"/>
              <a:gd name="connsiteY19" fmla="*/ 1894636 h 3562502"/>
              <a:gd name="connsiteX20" fmla="*/ 7454190 w 7454190"/>
              <a:gd name="connsiteY20" fmla="*/ 1894637 h 3562502"/>
              <a:gd name="connsiteX0" fmla="*/ 0 w 7454190"/>
              <a:gd name="connsiteY0" fmla="*/ 1872690 h 3562502"/>
              <a:gd name="connsiteX1" fmla="*/ 907085 w 7454190"/>
              <a:gd name="connsiteY1" fmla="*/ 1865376 h 3562502"/>
              <a:gd name="connsiteX2" fmla="*/ 1009498 w 7454190"/>
              <a:gd name="connsiteY2" fmla="*/ 1236269 h 3562502"/>
              <a:gd name="connsiteX3" fmla="*/ 1294790 w 7454190"/>
              <a:gd name="connsiteY3" fmla="*/ 3562502 h 3562502"/>
              <a:gd name="connsiteX4" fmla="*/ 1587398 w 7454190"/>
              <a:gd name="connsiteY4" fmla="*/ 14630 h 3562502"/>
              <a:gd name="connsiteX5" fmla="*/ 1865376 w 7454190"/>
              <a:gd name="connsiteY5" fmla="*/ 2238450 h 3562502"/>
              <a:gd name="connsiteX6" fmla="*/ 2038831 w 7454190"/>
              <a:gd name="connsiteY6" fmla="*/ 1874957 h 3562502"/>
              <a:gd name="connsiteX7" fmla="*/ 3457980 w 7454190"/>
              <a:gd name="connsiteY7" fmla="*/ 1889588 h 3562502"/>
              <a:gd name="connsiteX8" fmla="*/ 2472538 w 7454190"/>
              <a:gd name="connsiteY8" fmla="*/ 490118 h 3562502"/>
              <a:gd name="connsiteX9" fmla="*/ 3160166 w 7454190"/>
              <a:gd name="connsiteY9" fmla="*/ 21945 h 3562502"/>
              <a:gd name="connsiteX10" fmla="*/ 3803904 w 7454190"/>
              <a:gd name="connsiteY10" fmla="*/ 395020 h 3562502"/>
              <a:gd name="connsiteX11" fmla="*/ 4462272 w 7454190"/>
              <a:gd name="connsiteY11" fmla="*/ 7315 h 3562502"/>
              <a:gd name="connsiteX12" fmla="*/ 5171847 w 7454190"/>
              <a:gd name="connsiteY12" fmla="*/ 482803 h 3562502"/>
              <a:gd name="connsiteX13" fmla="*/ 4140402 w 7454190"/>
              <a:gd name="connsiteY13" fmla="*/ 1880007 h 3562502"/>
              <a:gd name="connsiteX14" fmla="*/ 5498920 w 7454190"/>
              <a:gd name="connsiteY14" fmla="*/ 1896902 h 3562502"/>
              <a:gd name="connsiteX15" fmla="*/ 5720487 w 7454190"/>
              <a:gd name="connsiteY15" fmla="*/ 2238450 h 3562502"/>
              <a:gd name="connsiteX16" fmla="*/ 6005780 w 7454190"/>
              <a:gd name="connsiteY16" fmla="*/ 0 h 3562502"/>
              <a:gd name="connsiteX17" fmla="*/ 6269127 w 7454190"/>
              <a:gd name="connsiteY17" fmla="*/ 3533241 h 3562502"/>
              <a:gd name="connsiteX18" fmla="*/ 6590995 w 7454190"/>
              <a:gd name="connsiteY18" fmla="*/ 1250899 h 3562502"/>
              <a:gd name="connsiteX19" fmla="*/ 6686093 w 7454190"/>
              <a:gd name="connsiteY19" fmla="*/ 1894636 h 3562502"/>
              <a:gd name="connsiteX20" fmla="*/ 7454190 w 7454190"/>
              <a:gd name="connsiteY20" fmla="*/ 1894637 h 3562502"/>
              <a:gd name="connsiteX0" fmla="*/ 0 w 7454190"/>
              <a:gd name="connsiteY0" fmla="*/ 1872690 h 3562502"/>
              <a:gd name="connsiteX1" fmla="*/ 907085 w 7454190"/>
              <a:gd name="connsiteY1" fmla="*/ 1865376 h 3562502"/>
              <a:gd name="connsiteX2" fmla="*/ 1009498 w 7454190"/>
              <a:gd name="connsiteY2" fmla="*/ 1236269 h 3562502"/>
              <a:gd name="connsiteX3" fmla="*/ 1294790 w 7454190"/>
              <a:gd name="connsiteY3" fmla="*/ 3562502 h 3562502"/>
              <a:gd name="connsiteX4" fmla="*/ 1587398 w 7454190"/>
              <a:gd name="connsiteY4" fmla="*/ 14630 h 3562502"/>
              <a:gd name="connsiteX5" fmla="*/ 1865376 w 7454190"/>
              <a:gd name="connsiteY5" fmla="*/ 2238450 h 3562502"/>
              <a:gd name="connsiteX6" fmla="*/ 2038831 w 7454190"/>
              <a:gd name="connsiteY6" fmla="*/ 1874957 h 3562502"/>
              <a:gd name="connsiteX7" fmla="*/ 3457980 w 7454190"/>
              <a:gd name="connsiteY7" fmla="*/ 1889588 h 3562502"/>
              <a:gd name="connsiteX8" fmla="*/ 2472538 w 7454190"/>
              <a:gd name="connsiteY8" fmla="*/ 490118 h 3562502"/>
              <a:gd name="connsiteX9" fmla="*/ 3160166 w 7454190"/>
              <a:gd name="connsiteY9" fmla="*/ 21945 h 3562502"/>
              <a:gd name="connsiteX10" fmla="*/ 3803904 w 7454190"/>
              <a:gd name="connsiteY10" fmla="*/ 395020 h 3562502"/>
              <a:gd name="connsiteX11" fmla="*/ 4462272 w 7454190"/>
              <a:gd name="connsiteY11" fmla="*/ 7315 h 3562502"/>
              <a:gd name="connsiteX12" fmla="*/ 5171847 w 7454190"/>
              <a:gd name="connsiteY12" fmla="*/ 482803 h 3562502"/>
              <a:gd name="connsiteX13" fmla="*/ 4140402 w 7454190"/>
              <a:gd name="connsiteY13" fmla="*/ 1880007 h 3562502"/>
              <a:gd name="connsiteX14" fmla="*/ 5498920 w 7454190"/>
              <a:gd name="connsiteY14" fmla="*/ 1896902 h 3562502"/>
              <a:gd name="connsiteX15" fmla="*/ 5720487 w 7454190"/>
              <a:gd name="connsiteY15" fmla="*/ 2238450 h 3562502"/>
              <a:gd name="connsiteX16" fmla="*/ 6005780 w 7454190"/>
              <a:gd name="connsiteY16" fmla="*/ 0 h 3562502"/>
              <a:gd name="connsiteX17" fmla="*/ 6269127 w 7454190"/>
              <a:gd name="connsiteY17" fmla="*/ 3533241 h 3562502"/>
              <a:gd name="connsiteX18" fmla="*/ 6590995 w 7454190"/>
              <a:gd name="connsiteY18" fmla="*/ 1250899 h 3562502"/>
              <a:gd name="connsiteX19" fmla="*/ 6686093 w 7454190"/>
              <a:gd name="connsiteY19" fmla="*/ 1894636 h 3562502"/>
              <a:gd name="connsiteX20" fmla="*/ 7454190 w 7454190"/>
              <a:gd name="connsiteY20" fmla="*/ 1894637 h 3562502"/>
              <a:gd name="connsiteX0" fmla="*/ 0 w 7454190"/>
              <a:gd name="connsiteY0" fmla="*/ 1872690 h 3562502"/>
              <a:gd name="connsiteX1" fmla="*/ 907085 w 7454190"/>
              <a:gd name="connsiteY1" fmla="*/ 1865376 h 3562502"/>
              <a:gd name="connsiteX2" fmla="*/ 1009498 w 7454190"/>
              <a:gd name="connsiteY2" fmla="*/ 1236269 h 3562502"/>
              <a:gd name="connsiteX3" fmla="*/ 1294790 w 7454190"/>
              <a:gd name="connsiteY3" fmla="*/ 3562502 h 3562502"/>
              <a:gd name="connsiteX4" fmla="*/ 1587398 w 7454190"/>
              <a:gd name="connsiteY4" fmla="*/ 14630 h 3562502"/>
              <a:gd name="connsiteX5" fmla="*/ 1865376 w 7454190"/>
              <a:gd name="connsiteY5" fmla="*/ 2238450 h 3562502"/>
              <a:gd name="connsiteX6" fmla="*/ 2038831 w 7454190"/>
              <a:gd name="connsiteY6" fmla="*/ 1874957 h 3562502"/>
              <a:gd name="connsiteX7" fmla="*/ 3457980 w 7454190"/>
              <a:gd name="connsiteY7" fmla="*/ 1889588 h 3562502"/>
              <a:gd name="connsiteX8" fmla="*/ 2472538 w 7454190"/>
              <a:gd name="connsiteY8" fmla="*/ 490118 h 3562502"/>
              <a:gd name="connsiteX9" fmla="*/ 3160166 w 7454190"/>
              <a:gd name="connsiteY9" fmla="*/ 21945 h 3562502"/>
              <a:gd name="connsiteX10" fmla="*/ 3803904 w 7454190"/>
              <a:gd name="connsiteY10" fmla="*/ 395020 h 3562502"/>
              <a:gd name="connsiteX11" fmla="*/ 4462272 w 7454190"/>
              <a:gd name="connsiteY11" fmla="*/ 7315 h 3562502"/>
              <a:gd name="connsiteX12" fmla="*/ 5171847 w 7454190"/>
              <a:gd name="connsiteY12" fmla="*/ 482803 h 3562502"/>
              <a:gd name="connsiteX13" fmla="*/ 4140402 w 7454190"/>
              <a:gd name="connsiteY13" fmla="*/ 1880007 h 3562502"/>
              <a:gd name="connsiteX14" fmla="*/ 5498920 w 7454190"/>
              <a:gd name="connsiteY14" fmla="*/ 1896902 h 3562502"/>
              <a:gd name="connsiteX15" fmla="*/ 5720487 w 7454190"/>
              <a:gd name="connsiteY15" fmla="*/ 2238450 h 3562502"/>
              <a:gd name="connsiteX16" fmla="*/ 6005780 w 7454190"/>
              <a:gd name="connsiteY16" fmla="*/ 0 h 3562502"/>
              <a:gd name="connsiteX17" fmla="*/ 6269127 w 7454190"/>
              <a:gd name="connsiteY17" fmla="*/ 3533241 h 3562502"/>
              <a:gd name="connsiteX18" fmla="*/ 6590995 w 7454190"/>
              <a:gd name="connsiteY18" fmla="*/ 1250899 h 3562502"/>
              <a:gd name="connsiteX19" fmla="*/ 6686093 w 7454190"/>
              <a:gd name="connsiteY19" fmla="*/ 1894636 h 3562502"/>
              <a:gd name="connsiteX20" fmla="*/ 7454190 w 7454190"/>
              <a:gd name="connsiteY20" fmla="*/ 1894637 h 3562502"/>
              <a:gd name="connsiteX0" fmla="*/ 0 w 7454190"/>
              <a:gd name="connsiteY0" fmla="*/ 1872690 h 3562502"/>
              <a:gd name="connsiteX1" fmla="*/ 907085 w 7454190"/>
              <a:gd name="connsiteY1" fmla="*/ 1865376 h 3562502"/>
              <a:gd name="connsiteX2" fmla="*/ 1009498 w 7454190"/>
              <a:gd name="connsiteY2" fmla="*/ 1236269 h 3562502"/>
              <a:gd name="connsiteX3" fmla="*/ 1294790 w 7454190"/>
              <a:gd name="connsiteY3" fmla="*/ 3562502 h 3562502"/>
              <a:gd name="connsiteX4" fmla="*/ 1587398 w 7454190"/>
              <a:gd name="connsiteY4" fmla="*/ 14630 h 3562502"/>
              <a:gd name="connsiteX5" fmla="*/ 1865376 w 7454190"/>
              <a:gd name="connsiteY5" fmla="*/ 2238450 h 3562502"/>
              <a:gd name="connsiteX6" fmla="*/ 2038831 w 7454190"/>
              <a:gd name="connsiteY6" fmla="*/ 1874957 h 3562502"/>
              <a:gd name="connsiteX7" fmla="*/ 3457980 w 7454190"/>
              <a:gd name="connsiteY7" fmla="*/ 1889588 h 3562502"/>
              <a:gd name="connsiteX8" fmla="*/ 2472538 w 7454190"/>
              <a:gd name="connsiteY8" fmla="*/ 490118 h 3562502"/>
              <a:gd name="connsiteX9" fmla="*/ 3160166 w 7454190"/>
              <a:gd name="connsiteY9" fmla="*/ 21945 h 3562502"/>
              <a:gd name="connsiteX10" fmla="*/ 3803904 w 7454190"/>
              <a:gd name="connsiteY10" fmla="*/ 395020 h 3562502"/>
              <a:gd name="connsiteX11" fmla="*/ 4462272 w 7454190"/>
              <a:gd name="connsiteY11" fmla="*/ 7315 h 3562502"/>
              <a:gd name="connsiteX12" fmla="*/ 5171847 w 7454190"/>
              <a:gd name="connsiteY12" fmla="*/ 482803 h 3562502"/>
              <a:gd name="connsiteX13" fmla="*/ 4140402 w 7454190"/>
              <a:gd name="connsiteY13" fmla="*/ 1880007 h 3562502"/>
              <a:gd name="connsiteX14" fmla="*/ 5498920 w 7454190"/>
              <a:gd name="connsiteY14" fmla="*/ 1896902 h 3562502"/>
              <a:gd name="connsiteX15" fmla="*/ 5720487 w 7454190"/>
              <a:gd name="connsiteY15" fmla="*/ 2238450 h 3562502"/>
              <a:gd name="connsiteX16" fmla="*/ 6005780 w 7454190"/>
              <a:gd name="connsiteY16" fmla="*/ 0 h 3562502"/>
              <a:gd name="connsiteX17" fmla="*/ 6269127 w 7454190"/>
              <a:gd name="connsiteY17" fmla="*/ 3533241 h 3562502"/>
              <a:gd name="connsiteX18" fmla="*/ 6590995 w 7454190"/>
              <a:gd name="connsiteY18" fmla="*/ 1250899 h 3562502"/>
              <a:gd name="connsiteX19" fmla="*/ 6686093 w 7454190"/>
              <a:gd name="connsiteY19" fmla="*/ 1894636 h 3562502"/>
              <a:gd name="connsiteX20" fmla="*/ 7454190 w 7454190"/>
              <a:gd name="connsiteY20" fmla="*/ 1894637 h 3562502"/>
              <a:gd name="connsiteX0" fmla="*/ 0 w 7454190"/>
              <a:gd name="connsiteY0" fmla="*/ 1872690 h 3562502"/>
              <a:gd name="connsiteX1" fmla="*/ 907085 w 7454190"/>
              <a:gd name="connsiteY1" fmla="*/ 1865376 h 3562502"/>
              <a:gd name="connsiteX2" fmla="*/ 1009498 w 7454190"/>
              <a:gd name="connsiteY2" fmla="*/ 1236269 h 3562502"/>
              <a:gd name="connsiteX3" fmla="*/ 1294790 w 7454190"/>
              <a:gd name="connsiteY3" fmla="*/ 3562502 h 3562502"/>
              <a:gd name="connsiteX4" fmla="*/ 1587398 w 7454190"/>
              <a:gd name="connsiteY4" fmla="*/ 14630 h 3562502"/>
              <a:gd name="connsiteX5" fmla="*/ 1865376 w 7454190"/>
              <a:gd name="connsiteY5" fmla="*/ 2238450 h 3562502"/>
              <a:gd name="connsiteX6" fmla="*/ 2038831 w 7454190"/>
              <a:gd name="connsiteY6" fmla="*/ 1874957 h 3562502"/>
              <a:gd name="connsiteX7" fmla="*/ 3457980 w 7454190"/>
              <a:gd name="connsiteY7" fmla="*/ 1889588 h 3562502"/>
              <a:gd name="connsiteX8" fmla="*/ 2472538 w 7454190"/>
              <a:gd name="connsiteY8" fmla="*/ 490118 h 3562502"/>
              <a:gd name="connsiteX9" fmla="*/ 3130905 w 7454190"/>
              <a:gd name="connsiteY9" fmla="*/ 21945 h 3562502"/>
              <a:gd name="connsiteX10" fmla="*/ 3803904 w 7454190"/>
              <a:gd name="connsiteY10" fmla="*/ 395020 h 3562502"/>
              <a:gd name="connsiteX11" fmla="*/ 4462272 w 7454190"/>
              <a:gd name="connsiteY11" fmla="*/ 7315 h 3562502"/>
              <a:gd name="connsiteX12" fmla="*/ 5171847 w 7454190"/>
              <a:gd name="connsiteY12" fmla="*/ 482803 h 3562502"/>
              <a:gd name="connsiteX13" fmla="*/ 4140402 w 7454190"/>
              <a:gd name="connsiteY13" fmla="*/ 1880007 h 3562502"/>
              <a:gd name="connsiteX14" fmla="*/ 5498920 w 7454190"/>
              <a:gd name="connsiteY14" fmla="*/ 1896902 h 3562502"/>
              <a:gd name="connsiteX15" fmla="*/ 5720487 w 7454190"/>
              <a:gd name="connsiteY15" fmla="*/ 2238450 h 3562502"/>
              <a:gd name="connsiteX16" fmla="*/ 6005780 w 7454190"/>
              <a:gd name="connsiteY16" fmla="*/ 0 h 3562502"/>
              <a:gd name="connsiteX17" fmla="*/ 6269127 w 7454190"/>
              <a:gd name="connsiteY17" fmla="*/ 3533241 h 3562502"/>
              <a:gd name="connsiteX18" fmla="*/ 6590995 w 7454190"/>
              <a:gd name="connsiteY18" fmla="*/ 1250899 h 3562502"/>
              <a:gd name="connsiteX19" fmla="*/ 6686093 w 7454190"/>
              <a:gd name="connsiteY19" fmla="*/ 1894636 h 3562502"/>
              <a:gd name="connsiteX20" fmla="*/ 7454190 w 7454190"/>
              <a:gd name="connsiteY20" fmla="*/ 1894637 h 3562502"/>
              <a:gd name="connsiteX0" fmla="*/ 0 w 7454190"/>
              <a:gd name="connsiteY0" fmla="*/ 1872690 h 3562502"/>
              <a:gd name="connsiteX1" fmla="*/ 907085 w 7454190"/>
              <a:gd name="connsiteY1" fmla="*/ 1865376 h 3562502"/>
              <a:gd name="connsiteX2" fmla="*/ 1009498 w 7454190"/>
              <a:gd name="connsiteY2" fmla="*/ 1236269 h 3562502"/>
              <a:gd name="connsiteX3" fmla="*/ 1294790 w 7454190"/>
              <a:gd name="connsiteY3" fmla="*/ 3562502 h 3562502"/>
              <a:gd name="connsiteX4" fmla="*/ 1587398 w 7454190"/>
              <a:gd name="connsiteY4" fmla="*/ 14630 h 3562502"/>
              <a:gd name="connsiteX5" fmla="*/ 1865376 w 7454190"/>
              <a:gd name="connsiteY5" fmla="*/ 2238450 h 3562502"/>
              <a:gd name="connsiteX6" fmla="*/ 2038831 w 7454190"/>
              <a:gd name="connsiteY6" fmla="*/ 1874957 h 3562502"/>
              <a:gd name="connsiteX7" fmla="*/ 3457980 w 7454190"/>
              <a:gd name="connsiteY7" fmla="*/ 1889588 h 3562502"/>
              <a:gd name="connsiteX8" fmla="*/ 2472538 w 7454190"/>
              <a:gd name="connsiteY8" fmla="*/ 490118 h 3562502"/>
              <a:gd name="connsiteX9" fmla="*/ 3130905 w 7454190"/>
              <a:gd name="connsiteY9" fmla="*/ 21945 h 3562502"/>
              <a:gd name="connsiteX10" fmla="*/ 3803904 w 7454190"/>
              <a:gd name="connsiteY10" fmla="*/ 395020 h 3562502"/>
              <a:gd name="connsiteX11" fmla="*/ 4462272 w 7454190"/>
              <a:gd name="connsiteY11" fmla="*/ 7315 h 3562502"/>
              <a:gd name="connsiteX12" fmla="*/ 5171847 w 7454190"/>
              <a:gd name="connsiteY12" fmla="*/ 482803 h 3562502"/>
              <a:gd name="connsiteX13" fmla="*/ 4140402 w 7454190"/>
              <a:gd name="connsiteY13" fmla="*/ 1880007 h 3562502"/>
              <a:gd name="connsiteX14" fmla="*/ 5498920 w 7454190"/>
              <a:gd name="connsiteY14" fmla="*/ 1896902 h 3562502"/>
              <a:gd name="connsiteX15" fmla="*/ 5720487 w 7454190"/>
              <a:gd name="connsiteY15" fmla="*/ 2238450 h 3562502"/>
              <a:gd name="connsiteX16" fmla="*/ 6005780 w 7454190"/>
              <a:gd name="connsiteY16" fmla="*/ 0 h 3562502"/>
              <a:gd name="connsiteX17" fmla="*/ 6269127 w 7454190"/>
              <a:gd name="connsiteY17" fmla="*/ 3533241 h 3562502"/>
              <a:gd name="connsiteX18" fmla="*/ 6590995 w 7454190"/>
              <a:gd name="connsiteY18" fmla="*/ 1250899 h 3562502"/>
              <a:gd name="connsiteX19" fmla="*/ 6686093 w 7454190"/>
              <a:gd name="connsiteY19" fmla="*/ 1894636 h 3562502"/>
              <a:gd name="connsiteX20" fmla="*/ 7454190 w 7454190"/>
              <a:gd name="connsiteY20" fmla="*/ 1894637 h 3562502"/>
              <a:gd name="connsiteX0" fmla="*/ 0 w 7454190"/>
              <a:gd name="connsiteY0" fmla="*/ 1872690 h 3562502"/>
              <a:gd name="connsiteX1" fmla="*/ 907085 w 7454190"/>
              <a:gd name="connsiteY1" fmla="*/ 1865376 h 3562502"/>
              <a:gd name="connsiteX2" fmla="*/ 1009498 w 7454190"/>
              <a:gd name="connsiteY2" fmla="*/ 1236269 h 3562502"/>
              <a:gd name="connsiteX3" fmla="*/ 1294790 w 7454190"/>
              <a:gd name="connsiteY3" fmla="*/ 3562502 h 3562502"/>
              <a:gd name="connsiteX4" fmla="*/ 1587398 w 7454190"/>
              <a:gd name="connsiteY4" fmla="*/ 14630 h 3562502"/>
              <a:gd name="connsiteX5" fmla="*/ 1865376 w 7454190"/>
              <a:gd name="connsiteY5" fmla="*/ 2238450 h 3562502"/>
              <a:gd name="connsiteX6" fmla="*/ 2038831 w 7454190"/>
              <a:gd name="connsiteY6" fmla="*/ 1874957 h 3562502"/>
              <a:gd name="connsiteX7" fmla="*/ 3457980 w 7454190"/>
              <a:gd name="connsiteY7" fmla="*/ 1889588 h 3562502"/>
              <a:gd name="connsiteX8" fmla="*/ 2472538 w 7454190"/>
              <a:gd name="connsiteY8" fmla="*/ 490118 h 3562502"/>
              <a:gd name="connsiteX9" fmla="*/ 3174796 w 7454190"/>
              <a:gd name="connsiteY9" fmla="*/ 21945 h 3562502"/>
              <a:gd name="connsiteX10" fmla="*/ 3803904 w 7454190"/>
              <a:gd name="connsiteY10" fmla="*/ 395020 h 3562502"/>
              <a:gd name="connsiteX11" fmla="*/ 4462272 w 7454190"/>
              <a:gd name="connsiteY11" fmla="*/ 7315 h 3562502"/>
              <a:gd name="connsiteX12" fmla="*/ 5171847 w 7454190"/>
              <a:gd name="connsiteY12" fmla="*/ 482803 h 3562502"/>
              <a:gd name="connsiteX13" fmla="*/ 4140402 w 7454190"/>
              <a:gd name="connsiteY13" fmla="*/ 1880007 h 3562502"/>
              <a:gd name="connsiteX14" fmla="*/ 5498920 w 7454190"/>
              <a:gd name="connsiteY14" fmla="*/ 1896902 h 3562502"/>
              <a:gd name="connsiteX15" fmla="*/ 5720487 w 7454190"/>
              <a:gd name="connsiteY15" fmla="*/ 2238450 h 3562502"/>
              <a:gd name="connsiteX16" fmla="*/ 6005780 w 7454190"/>
              <a:gd name="connsiteY16" fmla="*/ 0 h 3562502"/>
              <a:gd name="connsiteX17" fmla="*/ 6269127 w 7454190"/>
              <a:gd name="connsiteY17" fmla="*/ 3533241 h 3562502"/>
              <a:gd name="connsiteX18" fmla="*/ 6590995 w 7454190"/>
              <a:gd name="connsiteY18" fmla="*/ 1250899 h 3562502"/>
              <a:gd name="connsiteX19" fmla="*/ 6686093 w 7454190"/>
              <a:gd name="connsiteY19" fmla="*/ 1894636 h 3562502"/>
              <a:gd name="connsiteX20" fmla="*/ 7454190 w 7454190"/>
              <a:gd name="connsiteY20" fmla="*/ 1894637 h 3562502"/>
              <a:gd name="connsiteX0" fmla="*/ 0 w 7454190"/>
              <a:gd name="connsiteY0" fmla="*/ 1872690 h 3562502"/>
              <a:gd name="connsiteX1" fmla="*/ 907085 w 7454190"/>
              <a:gd name="connsiteY1" fmla="*/ 1865376 h 3562502"/>
              <a:gd name="connsiteX2" fmla="*/ 1009498 w 7454190"/>
              <a:gd name="connsiteY2" fmla="*/ 1236269 h 3562502"/>
              <a:gd name="connsiteX3" fmla="*/ 1294790 w 7454190"/>
              <a:gd name="connsiteY3" fmla="*/ 3562502 h 3562502"/>
              <a:gd name="connsiteX4" fmla="*/ 1587398 w 7454190"/>
              <a:gd name="connsiteY4" fmla="*/ 14630 h 3562502"/>
              <a:gd name="connsiteX5" fmla="*/ 1865376 w 7454190"/>
              <a:gd name="connsiteY5" fmla="*/ 2238450 h 3562502"/>
              <a:gd name="connsiteX6" fmla="*/ 2038831 w 7454190"/>
              <a:gd name="connsiteY6" fmla="*/ 1874957 h 3562502"/>
              <a:gd name="connsiteX7" fmla="*/ 3457980 w 7454190"/>
              <a:gd name="connsiteY7" fmla="*/ 1889588 h 3562502"/>
              <a:gd name="connsiteX8" fmla="*/ 2472538 w 7454190"/>
              <a:gd name="connsiteY8" fmla="*/ 490118 h 3562502"/>
              <a:gd name="connsiteX9" fmla="*/ 3174796 w 7454190"/>
              <a:gd name="connsiteY9" fmla="*/ 21945 h 3562502"/>
              <a:gd name="connsiteX10" fmla="*/ 3803904 w 7454190"/>
              <a:gd name="connsiteY10" fmla="*/ 395020 h 3562502"/>
              <a:gd name="connsiteX11" fmla="*/ 4462272 w 7454190"/>
              <a:gd name="connsiteY11" fmla="*/ 7315 h 3562502"/>
              <a:gd name="connsiteX12" fmla="*/ 5171847 w 7454190"/>
              <a:gd name="connsiteY12" fmla="*/ 482803 h 3562502"/>
              <a:gd name="connsiteX13" fmla="*/ 4140402 w 7454190"/>
              <a:gd name="connsiteY13" fmla="*/ 1880007 h 3562502"/>
              <a:gd name="connsiteX14" fmla="*/ 5498920 w 7454190"/>
              <a:gd name="connsiteY14" fmla="*/ 1896902 h 3562502"/>
              <a:gd name="connsiteX15" fmla="*/ 5720487 w 7454190"/>
              <a:gd name="connsiteY15" fmla="*/ 2238450 h 3562502"/>
              <a:gd name="connsiteX16" fmla="*/ 6005780 w 7454190"/>
              <a:gd name="connsiteY16" fmla="*/ 0 h 3562502"/>
              <a:gd name="connsiteX17" fmla="*/ 6269127 w 7454190"/>
              <a:gd name="connsiteY17" fmla="*/ 3533241 h 3562502"/>
              <a:gd name="connsiteX18" fmla="*/ 6590995 w 7454190"/>
              <a:gd name="connsiteY18" fmla="*/ 1250899 h 3562502"/>
              <a:gd name="connsiteX19" fmla="*/ 6686093 w 7454190"/>
              <a:gd name="connsiteY19" fmla="*/ 1894636 h 3562502"/>
              <a:gd name="connsiteX20" fmla="*/ 7454190 w 7454190"/>
              <a:gd name="connsiteY20" fmla="*/ 1894637 h 3562502"/>
              <a:gd name="connsiteX0" fmla="*/ 0 w 7454190"/>
              <a:gd name="connsiteY0" fmla="*/ 1872690 h 3562502"/>
              <a:gd name="connsiteX1" fmla="*/ 907085 w 7454190"/>
              <a:gd name="connsiteY1" fmla="*/ 1865376 h 3562502"/>
              <a:gd name="connsiteX2" fmla="*/ 1009498 w 7454190"/>
              <a:gd name="connsiteY2" fmla="*/ 1236269 h 3562502"/>
              <a:gd name="connsiteX3" fmla="*/ 1294790 w 7454190"/>
              <a:gd name="connsiteY3" fmla="*/ 3562502 h 3562502"/>
              <a:gd name="connsiteX4" fmla="*/ 1587398 w 7454190"/>
              <a:gd name="connsiteY4" fmla="*/ 14630 h 3562502"/>
              <a:gd name="connsiteX5" fmla="*/ 1865376 w 7454190"/>
              <a:gd name="connsiteY5" fmla="*/ 2238450 h 3562502"/>
              <a:gd name="connsiteX6" fmla="*/ 2038831 w 7454190"/>
              <a:gd name="connsiteY6" fmla="*/ 1874957 h 3562502"/>
              <a:gd name="connsiteX7" fmla="*/ 3457980 w 7454190"/>
              <a:gd name="connsiteY7" fmla="*/ 1889588 h 3562502"/>
              <a:gd name="connsiteX8" fmla="*/ 2472538 w 7454190"/>
              <a:gd name="connsiteY8" fmla="*/ 490118 h 3562502"/>
              <a:gd name="connsiteX9" fmla="*/ 3174796 w 7454190"/>
              <a:gd name="connsiteY9" fmla="*/ 21945 h 3562502"/>
              <a:gd name="connsiteX10" fmla="*/ 3803904 w 7454190"/>
              <a:gd name="connsiteY10" fmla="*/ 395020 h 3562502"/>
              <a:gd name="connsiteX11" fmla="*/ 4462272 w 7454190"/>
              <a:gd name="connsiteY11" fmla="*/ 7315 h 3562502"/>
              <a:gd name="connsiteX12" fmla="*/ 5171847 w 7454190"/>
              <a:gd name="connsiteY12" fmla="*/ 482803 h 3562502"/>
              <a:gd name="connsiteX13" fmla="*/ 4140402 w 7454190"/>
              <a:gd name="connsiteY13" fmla="*/ 1880007 h 3562502"/>
              <a:gd name="connsiteX14" fmla="*/ 5498920 w 7454190"/>
              <a:gd name="connsiteY14" fmla="*/ 1896902 h 3562502"/>
              <a:gd name="connsiteX15" fmla="*/ 5720487 w 7454190"/>
              <a:gd name="connsiteY15" fmla="*/ 2238450 h 3562502"/>
              <a:gd name="connsiteX16" fmla="*/ 6005780 w 7454190"/>
              <a:gd name="connsiteY16" fmla="*/ 0 h 3562502"/>
              <a:gd name="connsiteX17" fmla="*/ 6269127 w 7454190"/>
              <a:gd name="connsiteY17" fmla="*/ 3533241 h 3562502"/>
              <a:gd name="connsiteX18" fmla="*/ 6590995 w 7454190"/>
              <a:gd name="connsiteY18" fmla="*/ 1250899 h 3562502"/>
              <a:gd name="connsiteX19" fmla="*/ 6686093 w 7454190"/>
              <a:gd name="connsiteY19" fmla="*/ 1894636 h 3562502"/>
              <a:gd name="connsiteX20" fmla="*/ 7454190 w 7454190"/>
              <a:gd name="connsiteY20" fmla="*/ 1894637 h 3562502"/>
              <a:gd name="connsiteX0" fmla="*/ 0 w 7454190"/>
              <a:gd name="connsiteY0" fmla="*/ 1872690 h 3562502"/>
              <a:gd name="connsiteX1" fmla="*/ 907085 w 7454190"/>
              <a:gd name="connsiteY1" fmla="*/ 1865376 h 3562502"/>
              <a:gd name="connsiteX2" fmla="*/ 1009498 w 7454190"/>
              <a:gd name="connsiteY2" fmla="*/ 1236269 h 3562502"/>
              <a:gd name="connsiteX3" fmla="*/ 1294790 w 7454190"/>
              <a:gd name="connsiteY3" fmla="*/ 3562502 h 3562502"/>
              <a:gd name="connsiteX4" fmla="*/ 1587398 w 7454190"/>
              <a:gd name="connsiteY4" fmla="*/ 14630 h 3562502"/>
              <a:gd name="connsiteX5" fmla="*/ 1865376 w 7454190"/>
              <a:gd name="connsiteY5" fmla="*/ 2238450 h 3562502"/>
              <a:gd name="connsiteX6" fmla="*/ 2038831 w 7454190"/>
              <a:gd name="connsiteY6" fmla="*/ 1874957 h 3562502"/>
              <a:gd name="connsiteX7" fmla="*/ 3457980 w 7454190"/>
              <a:gd name="connsiteY7" fmla="*/ 1889588 h 3562502"/>
              <a:gd name="connsiteX8" fmla="*/ 2472538 w 7454190"/>
              <a:gd name="connsiteY8" fmla="*/ 490118 h 3562502"/>
              <a:gd name="connsiteX9" fmla="*/ 3174796 w 7454190"/>
              <a:gd name="connsiteY9" fmla="*/ 21945 h 3562502"/>
              <a:gd name="connsiteX10" fmla="*/ 3803904 w 7454190"/>
              <a:gd name="connsiteY10" fmla="*/ 395020 h 3562502"/>
              <a:gd name="connsiteX11" fmla="*/ 4462272 w 7454190"/>
              <a:gd name="connsiteY11" fmla="*/ 7315 h 3562502"/>
              <a:gd name="connsiteX12" fmla="*/ 5171847 w 7454190"/>
              <a:gd name="connsiteY12" fmla="*/ 482803 h 3562502"/>
              <a:gd name="connsiteX13" fmla="*/ 4140402 w 7454190"/>
              <a:gd name="connsiteY13" fmla="*/ 1880007 h 3562502"/>
              <a:gd name="connsiteX14" fmla="*/ 5498920 w 7454190"/>
              <a:gd name="connsiteY14" fmla="*/ 1896902 h 3562502"/>
              <a:gd name="connsiteX15" fmla="*/ 5720487 w 7454190"/>
              <a:gd name="connsiteY15" fmla="*/ 2238450 h 3562502"/>
              <a:gd name="connsiteX16" fmla="*/ 6005780 w 7454190"/>
              <a:gd name="connsiteY16" fmla="*/ 0 h 3562502"/>
              <a:gd name="connsiteX17" fmla="*/ 6269127 w 7454190"/>
              <a:gd name="connsiteY17" fmla="*/ 3533241 h 3562502"/>
              <a:gd name="connsiteX18" fmla="*/ 6590995 w 7454190"/>
              <a:gd name="connsiteY18" fmla="*/ 1250899 h 3562502"/>
              <a:gd name="connsiteX19" fmla="*/ 6686093 w 7454190"/>
              <a:gd name="connsiteY19" fmla="*/ 1894636 h 3562502"/>
              <a:gd name="connsiteX20" fmla="*/ 7454190 w 7454190"/>
              <a:gd name="connsiteY20" fmla="*/ 1894637 h 3562502"/>
              <a:gd name="connsiteX0" fmla="*/ 0 w 7454190"/>
              <a:gd name="connsiteY0" fmla="*/ 1872690 h 3562502"/>
              <a:gd name="connsiteX1" fmla="*/ 907085 w 7454190"/>
              <a:gd name="connsiteY1" fmla="*/ 1865376 h 3562502"/>
              <a:gd name="connsiteX2" fmla="*/ 1009498 w 7454190"/>
              <a:gd name="connsiteY2" fmla="*/ 1236269 h 3562502"/>
              <a:gd name="connsiteX3" fmla="*/ 1294790 w 7454190"/>
              <a:gd name="connsiteY3" fmla="*/ 3562502 h 3562502"/>
              <a:gd name="connsiteX4" fmla="*/ 1587398 w 7454190"/>
              <a:gd name="connsiteY4" fmla="*/ 14630 h 3562502"/>
              <a:gd name="connsiteX5" fmla="*/ 1865376 w 7454190"/>
              <a:gd name="connsiteY5" fmla="*/ 2238450 h 3562502"/>
              <a:gd name="connsiteX6" fmla="*/ 2038831 w 7454190"/>
              <a:gd name="connsiteY6" fmla="*/ 1874957 h 3562502"/>
              <a:gd name="connsiteX7" fmla="*/ 3457980 w 7454190"/>
              <a:gd name="connsiteY7" fmla="*/ 1889588 h 3562502"/>
              <a:gd name="connsiteX8" fmla="*/ 2472538 w 7454190"/>
              <a:gd name="connsiteY8" fmla="*/ 490118 h 3562502"/>
              <a:gd name="connsiteX9" fmla="*/ 3174796 w 7454190"/>
              <a:gd name="connsiteY9" fmla="*/ 21945 h 3562502"/>
              <a:gd name="connsiteX10" fmla="*/ 3803904 w 7454190"/>
              <a:gd name="connsiteY10" fmla="*/ 395020 h 3562502"/>
              <a:gd name="connsiteX11" fmla="*/ 4462272 w 7454190"/>
              <a:gd name="connsiteY11" fmla="*/ 7315 h 3562502"/>
              <a:gd name="connsiteX12" fmla="*/ 5171847 w 7454190"/>
              <a:gd name="connsiteY12" fmla="*/ 482803 h 3562502"/>
              <a:gd name="connsiteX13" fmla="*/ 4140402 w 7454190"/>
              <a:gd name="connsiteY13" fmla="*/ 1880007 h 3562502"/>
              <a:gd name="connsiteX14" fmla="*/ 5498920 w 7454190"/>
              <a:gd name="connsiteY14" fmla="*/ 1896902 h 3562502"/>
              <a:gd name="connsiteX15" fmla="*/ 5720487 w 7454190"/>
              <a:gd name="connsiteY15" fmla="*/ 2238450 h 3562502"/>
              <a:gd name="connsiteX16" fmla="*/ 6005780 w 7454190"/>
              <a:gd name="connsiteY16" fmla="*/ 0 h 3562502"/>
              <a:gd name="connsiteX17" fmla="*/ 6269127 w 7454190"/>
              <a:gd name="connsiteY17" fmla="*/ 3533241 h 3562502"/>
              <a:gd name="connsiteX18" fmla="*/ 6590995 w 7454190"/>
              <a:gd name="connsiteY18" fmla="*/ 1250899 h 3562502"/>
              <a:gd name="connsiteX19" fmla="*/ 6686093 w 7454190"/>
              <a:gd name="connsiteY19" fmla="*/ 1894636 h 3562502"/>
              <a:gd name="connsiteX20" fmla="*/ 7454190 w 7454190"/>
              <a:gd name="connsiteY20" fmla="*/ 1894637 h 3562502"/>
              <a:gd name="connsiteX0" fmla="*/ 0 w 7454190"/>
              <a:gd name="connsiteY0" fmla="*/ 1872690 h 3562502"/>
              <a:gd name="connsiteX1" fmla="*/ 907085 w 7454190"/>
              <a:gd name="connsiteY1" fmla="*/ 1865376 h 3562502"/>
              <a:gd name="connsiteX2" fmla="*/ 1009498 w 7454190"/>
              <a:gd name="connsiteY2" fmla="*/ 1236269 h 3562502"/>
              <a:gd name="connsiteX3" fmla="*/ 1294790 w 7454190"/>
              <a:gd name="connsiteY3" fmla="*/ 3562502 h 3562502"/>
              <a:gd name="connsiteX4" fmla="*/ 1587398 w 7454190"/>
              <a:gd name="connsiteY4" fmla="*/ 14630 h 3562502"/>
              <a:gd name="connsiteX5" fmla="*/ 1865376 w 7454190"/>
              <a:gd name="connsiteY5" fmla="*/ 2238450 h 3562502"/>
              <a:gd name="connsiteX6" fmla="*/ 2038831 w 7454190"/>
              <a:gd name="connsiteY6" fmla="*/ 1874957 h 3562502"/>
              <a:gd name="connsiteX7" fmla="*/ 3457980 w 7454190"/>
              <a:gd name="connsiteY7" fmla="*/ 1889588 h 3562502"/>
              <a:gd name="connsiteX8" fmla="*/ 2472538 w 7454190"/>
              <a:gd name="connsiteY8" fmla="*/ 490118 h 3562502"/>
              <a:gd name="connsiteX9" fmla="*/ 3174796 w 7454190"/>
              <a:gd name="connsiteY9" fmla="*/ 21945 h 3562502"/>
              <a:gd name="connsiteX10" fmla="*/ 3803904 w 7454190"/>
              <a:gd name="connsiteY10" fmla="*/ 395020 h 3562502"/>
              <a:gd name="connsiteX11" fmla="*/ 4462272 w 7454190"/>
              <a:gd name="connsiteY11" fmla="*/ 7315 h 3562502"/>
              <a:gd name="connsiteX12" fmla="*/ 5171847 w 7454190"/>
              <a:gd name="connsiteY12" fmla="*/ 482803 h 3562502"/>
              <a:gd name="connsiteX13" fmla="*/ 4140402 w 7454190"/>
              <a:gd name="connsiteY13" fmla="*/ 1880007 h 3562502"/>
              <a:gd name="connsiteX14" fmla="*/ 5498920 w 7454190"/>
              <a:gd name="connsiteY14" fmla="*/ 1896902 h 3562502"/>
              <a:gd name="connsiteX15" fmla="*/ 5720487 w 7454190"/>
              <a:gd name="connsiteY15" fmla="*/ 2238450 h 3562502"/>
              <a:gd name="connsiteX16" fmla="*/ 6005780 w 7454190"/>
              <a:gd name="connsiteY16" fmla="*/ 0 h 3562502"/>
              <a:gd name="connsiteX17" fmla="*/ 6269127 w 7454190"/>
              <a:gd name="connsiteY17" fmla="*/ 3533241 h 3562502"/>
              <a:gd name="connsiteX18" fmla="*/ 6590995 w 7454190"/>
              <a:gd name="connsiteY18" fmla="*/ 1250899 h 3562502"/>
              <a:gd name="connsiteX19" fmla="*/ 6686093 w 7454190"/>
              <a:gd name="connsiteY19" fmla="*/ 1894636 h 3562502"/>
              <a:gd name="connsiteX20" fmla="*/ 7454190 w 7454190"/>
              <a:gd name="connsiteY20" fmla="*/ 1894637 h 3562502"/>
              <a:gd name="connsiteX0" fmla="*/ 0 w 7454190"/>
              <a:gd name="connsiteY0" fmla="*/ 1872690 h 3562502"/>
              <a:gd name="connsiteX1" fmla="*/ 907085 w 7454190"/>
              <a:gd name="connsiteY1" fmla="*/ 1865376 h 3562502"/>
              <a:gd name="connsiteX2" fmla="*/ 1009498 w 7454190"/>
              <a:gd name="connsiteY2" fmla="*/ 1236269 h 3562502"/>
              <a:gd name="connsiteX3" fmla="*/ 1294790 w 7454190"/>
              <a:gd name="connsiteY3" fmla="*/ 3562502 h 3562502"/>
              <a:gd name="connsiteX4" fmla="*/ 1587398 w 7454190"/>
              <a:gd name="connsiteY4" fmla="*/ 14630 h 3562502"/>
              <a:gd name="connsiteX5" fmla="*/ 1865376 w 7454190"/>
              <a:gd name="connsiteY5" fmla="*/ 2238450 h 3562502"/>
              <a:gd name="connsiteX6" fmla="*/ 2038831 w 7454190"/>
              <a:gd name="connsiteY6" fmla="*/ 1874957 h 3562502"/>
              <a:gd name="connsiteX7" fmla="*/ 3457980 w 7454190"/>
              <a:gd name="connsiteY7" fmla="*/ 1889588 h 3562502"/>
              <a:gd name="connsiteX8" fmla="*/ 2472538 w 7454190"/>
              <a:gd name="connsiteY8" fmla="*/ 490118 h 3562502"/>
              <a:gd name="connsiteX9" fmla="*/ 3174796 w 7454190"/>
              <a:gd name="connsiteY9" fmla="*/ 21945 h 3562502"/>
              <a:gd name="connsiteX10" fmla="*/ 3803904 w 7454190"/>
              <a:gd name="connsiteY10" fmla="*/ 395020 h 3562502"/>
              <a:gd name="connsiteX11" fmla="*/ 4462272 w 7454190"/>
              <a:gd name="connsiteY11" fmla="*/ 7315 h 3562502"/>
              <a:gd name="connsiteX12" fmla="*/ 5171847 w 7454190"/>
              <a:gd name="connsiteY12" fmla="*/ 482803 h 3562502"/>
              <a:gd name="connsiteX13" fmla="*/ 4140402 w 7454190"/>
              <a:gd name="connsiteY13" fmla="*/ 1880007 h 3562502"/>
              <a:gd name="connsiteX14" fmla="*/ 5498920 w 7454190"/>
              <a:gd name="connsiteY14" fmla="*/ 1896902 h 3562502"/>
              <a:gd name="connsiteX15" fmla="*/ 5720487 w 7454190"/>
              <a:gd name="connsiteY15" fmla="*/ 2238450 h 3562502"/>
              <a:gd name="connsiteX16" fmla="*/ 6005780 w 7454190"/>
              <a:gd name="connsiteY16" fmla="*/ 0 h 3562502"/>
              <a:gd name="connsiteX17" fmla="*/ 6269127 w 7454190"/>
              <a:gd name="connsiteY17" fmla="*/ 3533241 h 3562502"/>
              <a:gd name="connsiteX18" fmla="*/ 6590995 w 7454190"/>
              <a:gd name="connsiteY18" fmla="*/ 1250899 h 3562502"/>
              <a:gd name="connsiteX19" fmla="*/ 6686093 w 7454190"/>
              <a:gd name="connsiteY19" fmla="*/ 1894636 h 3562502"/>
              <a:gd name="connsiteX20" fmla="*/ 7454190 w 7454190"/>
              <a:gd name="connsiteY20" fmla="*/ 1894637 h 3562502"/>
              <a:gd name="connsiteX0" fmla="*/ 0 w 7454190"/>
              <a:gd name="connsiteY0" fmla="*/ 1872690 h 3562502"/>
              <a:gd name="connsiteX1" fmla="*/ 907085 w 7454190"/>
              <a:gd name="connsiteY1" fmla="*/ 1865376 h 3562502"/>
              <a:gd name="connsiteX2" fmla="*/ 1009498 w 7454190"/>
              <a:gd name="connsiteY2" fmla="*/ 1236269 h 3562502"/>
              <a:gd name="connsiteX3" fmla="*/ 1294790 w 7454190"/>
              <a:gd name="connsiteY3" fmla="*/ 3562502 h 3562502"/>
              <a:gd name="connsiteX4" fmla="*/ 1587398 w 7454190"/>
              <a:gd name="connsiteY4" fmla="*/ 14630 h 3562502"/>
              <a:gd name="connsiteX5" fmla="*/ 1865376 w 7454190"/>
              <a:gd name="connsiteY5" fmla="*/ 2238450 h 3562502"/>
              <a:gd name="connsiteX6" fmla="*/ 2038831 w 7454190"/>
              <a:gd name="connsiteY6" fmla="*/ 1874957 h 3562502"/>
              <a:gd name="connsiteX7" fmla="*/ 3457980 w 7454190"/>
              <a:gd name="connsiteY7" fmla="*/ 1889588 h 3562502"/>
              <a:gd name="connsiteX8" fmla="*/ 2443277 w 7454190"/>
              <a:gd name="connsiteY8" fmla="*/ 490118 h 3562502"/>
              <a:gd name="connsiteX9" fmla="*/ 3174796 w 7454190"/>
              <a:gd name="connsiteY9" fmla="*/ 21945 h 3562502"/>
              <a:gd name="connsiteX10" fmla="*/ 3803904 w 7454190"/>
              <a:gd name="connsiteY10" fmla="*/ 395020 h 3562502"/>
              <a:gd name="connsiteX11" fmla="*/ 4462272 w 7454190"/>
              <a:gd name="connsiteY11" fmla="*/ 7315 h 3562502"/>
              <a:gd name="connsiteX12" fmla="*/ 5171847 w 7454190"/>
              <a:gd name="connsiteY12" fmla="*/ 482803 h 3562502"/>
              <a:gd name="connsiteX13" fmla="*/ 4140402 w 7454190"/>
              <a:gd name="connsiteY13" fmla="*/ 1880007 h 3562502"/>
              <a:gd name="connsiteX14" fmla="*/ 5498920 w 7454190"/>
              <a:gd name="connsiteY14" fmla="*/ 1896902 h 3562502"/>
              <a:gd name="connsiteX15" fmla="*/ 5720487 w 7454190"/>
              <a:gd name="connsiteY15" fmla="*/ 2238450 h 3562502"/>
              <a:gd name="connsiteX16" fmla="*/ 6005780 w 7454190"/>
              <a:gd name="connsiteY16" fmla="*/ 0 h 3562502"/>
              <a:gd name="connsiteX17" fmla="*/ 6269127 w 7454190"/>
              <a:gd name="connsiteY17" fmla="*/ 3533241 h 3562502"/>
              <a:gd name="connsiteX18" fmla="*/ 6590995 w 7454190"/>
              <a:gd name="connsiteY18" fmla="*/ 1250899 h 3562502"/>
              <a:gd name="connsiteX19" fmla="*/ 6686093 w 7454190"/>
              <a:gd name="connsiteY19" fmla="*/ 1894636 h 3562502"/>
              <a:gd name="connsiteX20" fmla="*/ 7454190 w 7454190"/>
              <a:gd name="connsiteY20" fmla="*/ 1894637 h 3562502"/>
              <a:gd name="connsiteX0" fmla="*/ 0 w 7454190"/>
              <a:gd name="connsiteY0" fmla="*/ 1872690 h 3562502"/>
              <a:gd name="connsiteX1" fmla="*/ 907085 w 7454190"/>
              <a:gd name="connsiteY1" fmla="*/ 1865376 h 3562502"/>
              <a:gd name="connsiteX2" fmla="*/ 1009498 w 7454190"/>
              <a:gd name="connsiteY2" fmla="*/ 1236269 h 3562502"/>
              <a:gd name="connsiteX3" fmla="*/ 1294790 w 7454190"/>
              <a:gd name="connsiteY3" fmla="*/ 3562502 h 3562502"/>
              <a:gd name="connsiteX4" fmla="*/ 1587398 w 7454190"/>
              <a:gd name="connsiteY4" fmla="*/ 14630 h 3562502"/>
              <a:gd name="connsiteX5" fmla="*/ 1865376 w 7454190"/>
              <a:gd name="connsiteY5" fmla="*/ 2238450 h 3562502"/>
              <a:gd name="connsiteX6" fmla="*/ 2038831 w 7454190"/>
              <a:gd name="connsiteY6" fmla="*/ 1874957 h 3562502"/>
              <a:gd name="connsiteX7" fmla="*/ 3457980 w 7454190"/>
              <a:gd name="connsiteY7" fmla="*/ 1889588 h 3562502"/>
              <a:gd name="connsiteX8" fmla="*/ 2443277 w 7454190"/>
              <a:gd name="connsiteY8" fmla="*/ 490118 h 3562502"/>
              <a:gd name="connsiteX9" fmla="*/ 3174796 w 7454190"/>
              <a:gd name="connsiteY9" fmla="*/ 21945 h 3562502"/>
              <a:gd name="connsiteX10" fmla="*/ 3803904 w 7454190"/>
              <a:gd name="connsiteY10" fmla="*/ 395020 h 3562502"/>
              <a:gd name="connsiteX11" fmla="*/ 4462272 w 7454190"/>
              <a:gd name="connsiteY11" fmla="*/ 7315 h 3562502"/>
              <a:gd name="connsiteX12" fmla="*/ 5171847 w 7454190"/>
              <a:gd name="connsiteY12" fmla="*/ 482803 h 3562502"/>
              <a:gd name="connsiteX13" fmla="*/ 4140402 w 7454190"/>
              <a:gd name="connsiteY13" fmla="*/ 1880007 h 3562502"/>
              <a:gd name="connsiteX14" fmla="*/ 5498920 w 7454190"/>
              <a:gd name="connsiteY14" fmla="*/ 1896902 h 3562502"/>
              <a:gd name="connsiteX15" fmla="*/ 5720487 w 7454190"/>
              <a:gd name="connsiteY15" fmla="*/ 2238450 h 3562502"/>
              <a:gd name="connsiteX16" fmla="*/ 6005780 w 7454190"/>
              <a:gd name="connsiteY16" fmla="*/ 0 h 3562502"/>
              <a:gd name="connsiteX17" fmla="*/ 6269127 w 7454190"/>
              <a:gd name="connsiteY17" fmla="*/ 3533241 h 3562502"/>
              <a:gd name="connsiteX18" fmla="*/ 6590995 w 7454190"/>
              <a:gd name="connsiteY18" fmla="*/ 1250899 h 3562502"/>
              <a:gd name="connsiteX19" fmla="*/ 6686093 w 7454190"/>
              <a:gd name="connsiteY19" fmla="*/ 1894636 h 3562502"/>
              <a:gd name="connsiteX20" fmla="*/ 7454190 w 7454190"/>
              <a:gd name="connsiteY20" fmla="*/ 1894637 h 3562502"/>
              <a:gd name="connsiteX0" fmla="*/ 0 w 7454190"/>
              <a:gd name="connsiteY0" fmla="*/ 1872690 h 3562502"/>
              <a:gd name="connsiteX1" fmla="*/ 907085 w 7454190"/>
              <a:gd name="connsiteY1" fmla="*/ 1865376 h 3562502"/>
              <a:gd name="connsiteX2" fmla="*/ 1009498 w 7454190"/>
              <a:gd name="connsiteY2" fmla="*/ 1236269 h 3562502"/>
              <a:gd name="connsiteX3" fmla="*/ 1294790 w 7454190"/>
              <a:gd name="connsiteY3" fmla="*/ 3562502 h 3562502"/>
              <a:gd name="connsiteX4" fmla="*/ 1587398 w 7454190"/>
              <a:gd name="connsiteY4" fmla="*/ 14630 h 3562502"/>
              <a:gd name="connsiteX5" fmla="*/ 1865376 w 7454190"/>
              <a:gd name="connsiteY5" fmla="*/ 2238450 h 3562502"/>
              <a:gd name="connsiteX6" fmla="*/ 2038831 w 7454190"/>
              <a:gd name="connsiteY6" fmla="*/ 1874957 h 3562502"/>
              <a:gd name="connsiteX7" fmla="*/ 3457980 w 7454190"/>
              <a:gd name="connsiteY7" fmla="*/ 1889588 h 3562502"/>
              <a:gd name="connsiteX8" fmla="*/ 2443277 w 7454190"/>
              <a:gd name="connsiteY8" fmla="*/ 490118 h 3562502"/>
              <a:gd name="connsiteX9" fmla="*/ 3174796 w 7454190"/>
              <a:gd name="connsiteY9" fmla="*/ 21945 h 3562502"/>
              <a:gd name="connsiteX10" fmla="*/ 3803904 w 7454190"/>
              <a:gd name="connsiteY10" fmla="*/ 395020 h 3562502"/>
              <a:gd name="connsiteX11" fmla="*/ 4462272 w 7454190"/>
              <a:gd name="connsiteY11" fmla="*/ 7315 h 3562502"/>
              <a:gd name="connsiteX12" fmla="*/ 5171847 w 7454190"/>
              <a:gd name="connsiteY12" fmla="*/ 482803 h 3562502"/>
              <a:gd name="connsiteX13" fmla="*/ 4140402 w 7454190"/>
              <a:gd name="connsiteY13" fmla="*/ 1880007 h 3562502"/>
              <a:gd name="connsiteX14" fmla="*/ 5498920 w 7454190"/>
              <a:gd name="connsiteY14" fmla="*/ 1896902 h 3562502"/>
              <a:gd name="connsiteX15" fmla="*/ 5720487 w 7454190"/>
              <a:gd name="connsiteY15" fmla="*/ 2238450 h 3562502"/>
              <a:gd name="connsiteX16" fmla="*/ 6005780 w 7454190"/>
              <a:gd name="connsiteY16" fmla="*/ 0 h 3562502"/>
              <a:gd name="connsiteX17" fmla="*/ 6269127 w 7454190"/>
              <a:gd name="connsiteY17" fmla="*/ 3533241 h 3562502"/>
              <a:gd name="connsiteX18" fmla="*/ 6590995 w 7454190"/>
              <a:gd name="connsiteY18" fmla="*/ 1250899 h 3562502"/>
              <a:gd name="connsiteX19" fmla="*/ 6686093 w 7454190"/>
              <a:gd name="connsiteY19" fmla="*/ 1894636 h 3562502"/>
              <a:gd name="connsiteX20" fmla="*/ 7454190 w 7454190"/>
              <a:gd name="connsiteY20" fmla="*/ 1894637 h 3562502"/>
              <a:gd name="connsiteX0" fmla="*/ 0 w 7454190"/>
              <a:gd name="connsiteY0" fmla="*/ 1874097 h 3563909"/>
              <a:gd name="connsiteX1" fmla="*/ 907085 w 7454190"/>
              <a:gd name="connsiteY1" fmla="*/ 1866783 h 3563909"/>
              <a:gd name="connsiteX2" fmla="*/ 1009498 w 7454190"/>
              <a:gd name="connsiteY2" fmla="*/ 1237676 h 3563909"/>
              <a:gd name="connsiteX3" fmla="*/ 1294790 w 7454190"/>
              <a:gd name="connsiteY3" fmla="*/ 3563909 h 3563909"/>
              <a:gd name="connsiteX4" fmla="*/ 1587398 w 7454190"/>
              <a:gd name="connsiteY4" fmla="*/ 16037 h 3563909"/>
              <a:gd name="connsiteX5" fmla="*/ 1865376 w 7454190"/>
              <a:gd name="connsiteY5" fmla="*/ 2239857 h 3563909"/>
              <a:gd name="connsiteX6" fmla="*/ 2038831 w 7454190"/>
              <a:gd name="connsiteY6" fmla="*/ 1876364 h 3563909"/>
              <a:gd name="connsiteX7" fmla="*/ 3457980 w 7454190"/>
              <a:gd name="connsiteY7" fmla="*/ 1890995 h 3563909"/>
              <a:gd name="connsiteX8" fmla="*/ 2443277 w 7454190"/>
              <a:gd name="connsiteY8" fmla="*/ 491525 h 3563909"/>
              <a:gd name="connsiteX9" fmla="*/ 3043123 w 7454190"/>
              <a:gd name="connsiteY9" fmla="*/ 1407 h 3563909"/>
              <a:gd name="connsiteX10" fmla="*/ 3803904 w 7454190"/>
              <a:gd name="connsiteY10" fmla="*/ 396427 h 3563909"/>
              <a:gd name="connsiteX11" fmla="*/ 4462272 w 7454190"/>
              <a:gd name="connsiteY11" fmla="*/ 8722 h 3563909"/>
              <a:gd name="connsiteX12" fmla="*/ 5171847 w 7454190"/>
              <a:gd name="connsiteY12" fmla="*/ 484210 h 3563909"/>
              <a:gd name="connsiteX13" fmla="*/ 4140402 w 7454190"/>
              <a:gd name="connsiteY13" fmla="*/ 1881414 h 3563909"/>
              <a:gd name="connsiteX14" fmla="*/ 5498920 w 7454190"/>
              <a:gd name="connsiteY14" fmla="*/ 1898309 h 3563909"/>
              <a:gd name="connsiteX15" fmla="*/ 5720487 w 7454190"/>
              <a:gd name="connsiteY15" fmla="*/ 2239857 h 3563909"/>
              <a:gd name="connsiteX16" fmla="*/ 6005780 w 7454190"/>
              <a:gd name="connsiteY16" fmla="*/ 1407 h 3563909"/>
              <a:gd name="connsiteX17" fmla="*/ 6269127 w 7454190"/>
              <a:gd name="connsiteY17" fmla="*/ 3534648 h 3563909"/>
              <a:gd name="connsiteX18" fmla="*/ 6590995 w 7454190"/>
              <a:gd name="connsiteY18" fmla="*/ 1252306 h 3563909"/>
              <a:gd name="connsiteX19" fmla="*/ 6686093 w 7454190"/>
              <a:gd name="connsiteY19" fmla="*/ 1896043 h 3563909"/>
              <a:gd name="connsiteX20" fmla="*/ 7454190 w 7454190"/>
              <a:gd name="connsiteY20" fmla="*/ 1896044 h 3563909"/>
              <a:gd name="connsiteX0" fmla="*/ 0 w 7454190"/>
              <a:gd name="connsiteY0" fmla="*/ 1874097 h 3563909"/>
              <a:gd name="connsiteX1" fmla="*/ 907085 w 7454190"/>
              <a:gd name="connsiteY1" fmla="*/ 1866783 h 3563909"/>
              <a:gd name="connsiteX2" fmla="*/ 1009498 w 7454190"/>
              <a:gd name="connsiteY2" fmla="*/ 1237676 h 3563909"/>
              <a:gd name="connsiteX3" fmla="*/ 1294790 w 7454190"/>
              <a:gd name="connsiteY3" fmla="*/ 3563909 h 3563909"/>
              <a:gd name="connsiteX4" fmla="*/ 1587398 w 7454190"/>
              <a:gd name="connsiteY4" fmla="*/ 16037 h 3563909"/>
              <a:gd name="connsiteX5" fmla="*/ 1865376 w 7454190"/>
              <a:gd name="connsiteY5" fmla="*/ 2239857 h 3563909"/>
              <a:gd name="connsiteX6" fmla="*/ 2038831 w 7454190"/>
              <a:gd name="connsiteY6" fmla="*/ 1876364 h 3563909"/>
              <a:gd name="connsiteX7" fmla="*/ 3457980 w 7454190"/>
              <a:gd name="connsiteY7" fmla="*/ 1890995 h 3563909"/>
              <a:gd name="connsiteX8" fmla="*/ 2443277 w 7454190"/>
              <a:gd name="connsiteY8" fmla="*/ 491525 h 3563909"/>
              <a:gd name="connsiteX9" fmla="*/ 3043123 w 7454190"/>
              <a:gd name="connsiteY9" fmla="*/ 1407 h 3563909"/>
              <a:gd name="connsiteX10" fmla="*/ 3803904 w 7454190"/>
              <a:gd name="connsiteY10" fmla="*/ 396427 h 3563909"/>
              <a:gd name="connsiteX11" fmla="*/ 4586631 w 7454190"/>
              <a:gd name="connsiteY11" fmla="*/ 23352 h 3563909"/>
              <a:gd name="connsiteX12" fmla="*/ 5171847 w 7454190"/>
              <a:gd name="connsiteY12" fmla="*/ 484210 h 3563909"/>
              <a:gd name="connsiteX13" fmla="*/ 4140402 w 7454190"/>
              <a:gd name="connsiteY13" fmla="*/ 1881414 h 3563909"/>
              <a:gd name="connsiteX14" fmla="*/ 5498920 w 7454190"/>
              <a:gd name="connsiteY14" fmla="*/ 1898309 h 3563909"/>
              <a:gd name="connsiteX15" fmla="*/ 5720487 w 7454190"/>
              <a:gd name="connsiteY15" fmla="*/ 2239857 h 3563909"/>
              <a:gd name="connsiteX16" fmla="*/ 6005780 w 7454190"/>
              <a:gd name="connsiteY16" fmla="*/ 1407 h 3563909"/>
              <a:gd name="connsiteX17" fmla="*/ 6269127 w 7454190"/>
              <a:gd name="connsiteY17" fmla="*/ 3534648 h 3563909"/>
              <a:gd name="connsiteX18" fmla="*/ 6590995 w 7454190"/>
              <a:gd name="connsiteY18" fmla="*/ 1252306 h 3563909"/>
              <a:gd name="connsiteX19" fmla="*/ 6686093 w 7454190"/>
              <a:gd name="connsiteY19" fmla="*/ 1896043 h 3563909"/>
              <a:gd name="connsiteX20" fmla="*/ 7454190 w 7454190"/>
              <a:gd name="connsiteY20" fmla="*/ 1896044 h 3563909"/>
              <a:gd name="connsiteX0" fmla="*/ 0 w 7454190"/>
              <a:gd name="connsiteY0" fmla="*/ 1874097 h 3563909"/>
              <a:gd name="connsiteX1" fmla="*/ 907085 w 7454190"/>
              <a:gd name="connsiteY1" fmla="*/ 1866783 h 3563909"/>
              <a:gd name="connsiteX2" fmla="*/ 1009498 w 7454190"/>
              <a:gd name="connsiteY2" fmla="*/ 1237676 h 3563909"/>
              <a:gd name="connsiteX3" fmla="*/ 1294790 w 7454190"/>
              <a:gd name="connsiteY3" fmla="*/ 3563909 h 3563909"/>
              <a:gd name="connsiteX4" fmla="*/ 1587398 w 7454190"/>
              <a:gd name="connsiteY4" fmla="*/ 16037 h 3563909"/>
              <a:gd name="connsiteX5" fmla="*/ 1865376 w 7454190"/>
              <a:gd name="connsiteY5" fmla="*/ 2239857 h 3563909"/>
              <a:gd name="connsiteX6" fmla="*/ 2038831 w 7454190"/>
              <a:gd name="connsiteY6" fmla="*/ 1876364 h 3563909"/>
              <a:gd name="connsiteX7" fmla="*/ 3457980 w 7454190"/>
              <a:gd name="connsiteY7" fmla="*/ 1890995 h 3563909"/>
              <a:gd name="connsiteX8" fmla="*/ 2443277 w 7454190"/>
              <a:gd name="connsiteY8" fmla="*/ 491525 h 3563909"/>
              <a:gd name="connsiteX9" fmla="*/ 3043123 w 7454190"/>
              <a:gd name="connsiteY9" fmla="*/ 1407 h 3563909"/>
              <a:gd name="connsiteX10" fmla="*/ 3803904 w 7454190"/>
              <a:gd name="connsiteY10" fmla="*/ 396427 h 3563909"/>
              <a:gd name="connsiteX11" fmla="*/ 4586631 w 7454190"/>
              <a:gd name="connsiteY11" fmla="*/ 23352 h 3563909"/>
              <a:gd name="connsiteX12" fmla="*/ 5171847 w 7454190"/>
              <a:gd name="connsiteY12" fmla="*/ 484210 h 3563909"/>
              <a:gd name="connsiteX13" fmla="*/ 4140402 w 7454190"/>
              <a:gd name="connsiteY13" fmla="*/ 1881414 h 3563909"/>
              <a:gd name="connsiteX14" fmla="*/ 5498920 w 7454190"/>
              <a:gd name="connsiteY14" fmla="*/ 1898309 h 3563909"/>
              <a:gd name="connsiteX15" fmla="*/ 5720487 w 7454190"/>
              <a:gd name="connsiteY15" fmla="*/ 2239857 h 3563909"/>
              <a:gd name="connsiteX16" fmla="*/ 6005780 w 7454190"/>
              <a:gd name="connsiteY16" fmla="*/ 1407 h 3563909"/>
              <a:gd name="connsiteX17" fmla="*/ 6269127 w 7454190"/>
              <a:gd name="connsiteY17" fmla="*/ 3534648 h 3563909"/>
              <a:gd name="connsiteX18" fmla="*/ 6590995 w 7454190"/>
              <a:gd name="connsiteY18" fmla="*/ 1252306 h 3563909"/>
              <a:gd name="connsiteX19" fmla="*/ 6686093 w 7454190"/>
              <a:gd name="connsiteY19" fmla="*/ 1896043 h 3563909"/>
              <a:gd name="connsiteX20" fmla="*/ 7454190 w 7454190"/>
              <a:gd name="connsiteY20" fmla="*/ 1896044 h 3563909"/>
              <a:gd name="connsiteX0" fmla="*/ 0 w 7454190"/>
              <a:gd name="connsiteY0" fmla="*/ 1874097 h 3563909"/>
              <a:gd name="connsiteX1" fmla="*/ 907085 w 7454190"/>
              <a:gd name="connsiteY1" fmla="*/ 1866783 h 3563909"/>
              <a:gd name="connsiteX2" fmla="*/ 1009498 w 7454190"/>
              <a:gd name="connsiteY2" fmla="*/ 1237676 h 3563909"/>
              <a:gd name="connsiteX3" fmla="*/ 1294790 w 7454190"/>
              <a:gd name="connsiteY3" fmla="*/ 3563909 h 3563909"/>
              <a:gd name="connsiteX4" fmla="*/ 1587398 w 7454190"/>
              <a:gd name="connsiteY4" fmla="*/ 16037 h 3563909"/>
              <a:gd name="connsiteX5" fmla="*/ 1865376 w 7454190"/>
              <a:gd name="connsiteY5" fmla="*/ 2239857 h 3563909"/>
              <a:gd name="connsiteX6" fmla="*/ 2038831 w 7454190"/>
              <a:gd name="connsiteY6" fmla="*/ 1876364 h 3563909"/>
              <a:gd name="connsiteX7" fmla="*/ 3457980 w 7454190"/>
              <a:gd name="connsiteY7" fmla="*/ 1890995 h 3563909"/>
              <a:gd name="connsiteX8" fmla="*/ 2443277 w 7454190"/>
              <a:gd name="connsiteY8" fmla="*/ 491525 h 3563909"/>
              <a:gd name="connsiteX9" fmla="*/ 3043123 w 7454190"/>
              <a:gd name="connsiteY9" fmla="*/ 1407 h 3563909"/>
              <a:gd name="connsiteX10" fmla="*/ 3803904 w 7454190"/>
              <a:gd name="connsiteY10" fmla="*/ 396427 h 3563909"/>
              <a:gd name="connsiteX11" fmla="*/ 4586631 w 7454190"/>
              <a:gd name="connsiteY11" fmla="*/ 23352 h 3563909"/>
              <a:gd name="connsiteX12" fmla="*/ 5171847 w 7454190"/>
              <a:gd name="connsiteY12" fmla="*/ 484210 h 3563909"/>
              <a:gd name="connsiteX13" fmla="*/ 4140402 w 7454190"/>
              <a:gd name="connsiteY13" fmla="*/ 1881414 h 3563909"/>
              <a:gd name="connsiteX14" fmla="*/ 5498920 w 7454190"/>
              <a:gd name="connsiteY14" fmla="*/ 1898309 h 3563909"/>
              <a:gd name="connsiteX15" fmla="*/ 5720487 w 7454190"/>
              <a:gd name="connsiteY15" fmla="*/ 2239857 h 3563909"/>
              <a:gd name="connsiteX16" fmla="*/ 6005780 w 7454190"/>
              <a:gd name="connsiteY16" fmla="*/ 1407 h 3563909"/>
              <a:gd name="connsiteX17" fmla="*/ 6269127 w 7454190"/>
              <a:gd name="connsiteY17" fmla="*/ 3534648 h 3563909"/>
              <a:gd name="connsiteX18" fmla="*/ 6590995 w 7454190"/>
              <a:gd name="connsiteY18" fmla="*/ 1252306 h 3563909"/>
              <a:gd name="connsiteX19" fmla="*/ 6686093 w 7454190"/>
              <a:gd name="connsiteY19" fmla="*/ 1896043 h 3563909"/>
              <a:gd name="connsiteX20" fmla="*/ 7454190 w 7454190"/>
              <a:gd name="connsiteY20" fmla="*/ 1896044 h 3563909"/>
              <a:gd name="connsiteX0" fmla="*/ 0 w 7454190"/>
              <a:gd name="connsiteY0" fmla="*/ 1874097 h 3563909"/>
              <a:gd name="connsiteX1" fmla="*/ 907085 w 7454190"/>
              <a:gd name="connsiteY1" fmla="*/ 1866783 h 3563909"/>
              <a:gd name="connsiteX2" fmla="*/ 1009498 w 7454190"/>
              <a:gd name="connsiteY2" fmla="*/ 1237676 h 3563909"/>
              <a:gd name="connsiteX3" fmla="*/ 1294790 w 7454190"/>
              <a:gd name="connsiteY3" fmla="*/ 3563909 h 3563909"/>
              <a:gd name="connsiteX4" fmla="*/ 1587398 w 7454190"/>
              <a:gd name="connsiteY4" fmla="*/ 16037 h 3563909"/>
              <a:gd name="connsiteX5" fmla="*/ 1865376 w 7454190"/>
              <a:gd name="connsiteY5" fmla="*/ 2239857 h 3563909"/>
              <a:gd name="connsiteX6" fmla="*/ 2038831 w 7454190"/>
              <a:gd name="connsiteY6" fmla="*/ 1876364 h 3563909"/>
              <a:gd name="connsiteX7" fmla="*/ 3457980 w 7454190"/>
              <a:gd name="connsiteY7" fmla="*/ 1890995 h 3563909"/>
              <a:gd name="connsiteX8" fmla="*/ 2443277 w 7454190"/>
              <a:gd name="connsiteY8" fmla="*/ 491525 h 3563909"/>
              <a:gd name="connsiteX9" fmla="*/ 3043123 w 7454190"/>
              <a:gd name="connsiteY9" fmla="*/ 1407 h 3563909"/>
              <a:gd name="connsiteX10" fmla="*/ 3803904 w 7454190"/>
              <a:gd name="connsiteY10" fmla="*/ 396427 h 3563909"/>
              <a:gd name="connsiteX11" fmla="*/ 4586631 w 7454190"/>
              <a:gd name="connsiteY11" fmla="*/ 23352 h 3563909"/>
              <a:gd name="connsiteX12" fmla="*/ 5171847 w 7454190"/>
              <a:gd name="connsiteY12" fmla="*/ 484210 h 3563909"/>
              <a:gd name="connsiteX13" fmla="*/ 4140402 w 7454190"/>
              <a:gd name="connsiteY13" fmla="*/ 1881414 h 3563909"/>
              <a:gd name="connsiteX14" fmla="*/ 5498920 w 7454190"/>
              <a:gd name="connsiteY14" fmla="*/ 1898309 h 3563909"/>
              <a:gd name="connsiteX15" fmla="*/ 5720487 w 7454190"/>
              <a:gd name="connsiteY15" fmla="*/ 2239857 h 3563909"/>
              <a:gd name="connsiteX16" fmla="*/ 6005780 w 7454190"/>
              <a:gd name="connsiteY16" fmla="*/ 1407 h 3563909"/>
              <a:gd name="connsiteX17" fmla="*/ 6269127 w 7454190"/>
              <a:gd name="connsiteY17" fmla="*/ 3534648 h 3563909"/>
              <a:gd name="connsiteX18" fmla="*/ 6590995 w 7454190"/>
              <a:gd name="connsiteY18" fmla="*/ 1252306 h 3563909"/>
              <a:gd name="connsiteX19" fmla="*/ 6686093 w 7454190"/>
              <a:gd name="connsiteY19" fmla="*/ 1896043 h 3563909"/>
              <a:gd name="connsiteX20" fmla="*/ 7454190 w 7454190"/>
              <a:gd name="connsiteY20" fmla="*/ 1896044 h 3563909"/>
              <a:gd name="connsiteX0" fmla="*/ 0 w 7454190"/>
              <a:gd name="connsiteY0" fmla="*/ 1874097 h 3563909"/>
              <a:gd name="connsiteX1" fmla="*/ 907085 w 7454190"/>
              <a:gd name="connsiteY1" fmla="*/ 1866783 h 3563909"/>
              <a:gd name="connsiteX2" fmla="*/ 1009498 w 7454190"/>
              <a:gd name="connsiteY2" fmla="*/ 1237676 h 3563909"/>
              <a:gd name="connsiteX3" fmla="*/ 1294790 w 7454190"/>
              <a:gd name="connsiteY3" fmla="*/ 3563909 h 3563909"/>
              <a:gd name="connsiteX4" fmla="*/ 1587398 w 7454190"/>
              <a:gd name="connsiteY4" fmla="*/ 16037 h 3563909"/>
              <a:gd name="connsiteX5" fmla="*/ 1865376 w 7454190"/>
              <a:gd name="connsiteY5" fmla="*/ 2239857 h 3563909"/>
              <a:gd name="connsiteX6" fmla="*/ 2038831 w 7454190"/>
              <a:gd name="connsiteY6" fmla="*/ 1876364 h 3563909"/>
              <a:gd name="connsiteX7" fmla="*/ 3457980 w 7454190"/>
              <a:gd name="connsiteY7" fmla="*/ 1890995 h 3563909"/>
              <a:gd name="connsiteX8" fmla="*/ 2443277 w 7454190"/>
              <a:gd name="connsiteY8" fmla="*/ 491525 h 3563909"/>
              <a:gd name="connsiteX9" fmla="*/ 3043123 w 7454190"/>
              <a:gd name="connsiteY9" fmla="*/ 1407 h 3563909"/>
              <a:gd name="connsiteX10" fmla="*/ 3803904 w 7454190"/>
              <a:gd name="connsiteY10" fmla="*/ 396427 h 3563909"/>
              <a:gd name="connsiteX11" fmla="*/ 4586631 w 7454190"/>
              <a:gd name="connsiteY11" fmla="*/ 23352 h 3563909"/>
              <a:gd name="connsiteX12" fmla="*/ 5171847 w 7454190"/>
              <a:gd name="connsiteY12" fmla="*/ 484210 h 3563909"/>
              <a:gd name="connsiteX13" fmla="*/ 4140402 w 7454190"/>
              <a:gd name="connsiteY13" fmla="*/ 1881414 h 3563909"/>
              <a:gd name="connsiteX14" fmla="*/ 5498920 w 7454190"/>
              <a:gd name="connsiteY14" fmla="*/ 1898309 h 3563909"/>
              <a:gd name="connsiteX15" fmla="*/ 5720487 w 7454190"/>
              <a:gd name="connsiteY15" fmla="*/ 2239857 h 3563909"/>
              <a:gd name="connsiteX16" fmla="*/ 6005780 w 7454190"/>
              <a:gd name="connsiteY16" fmla="*/ 1407 h 3563909"/>
              <a:gd name="connsiteX17" fmla="*/ 6269127 w 7454190"/>
              <a:gd name="connsiteY17" fmla="*/ 3534648 h 3563909"/>
              <a:gd name="connsiteX18" fmla="*/ 6590995 w 7454190"/>
              <a:gd name="connsiteY18" fmla="*/ 1252306 h 3563909"/>
              <a:gd name="connsiteX19" fmla="*/ 6686093 w 7454190"/>
              <a:gd name="connsiteY19" fmla="*/ 1896043 h 3563909"/>
              <a:gd name="connsiteX20" fmla="*/ 7454190 w 7454190"/>
              <a:gd name="connsiteY20" fmla="*/ 1896044 h 3563909"/>
              <a:gd name="connsiteX0" fmla="*/ 0 w 7454190"/>
              <a:gd name="connsiteY0" fmla="*/ 1873451 h 3563263"/>
              <a:gd name="connsiteX1" fmla="*/ 907085 w 7454190"/>
              <a:gd name="connsiteY1" fmla="*/ 1866137 h 3563263"/>
              <a:gd name="connsiteX2" fmla="*/ 1009498 w 7454190"/>
              <a:gd name="connsiteY2" fmla="*/ 1237030 h 3563263"/>
              <a:gd name="connsiteX3" fmla="*/ 1294790 w 7454190"/>
              <a:gd name="connsiteY3" fmla="*/ 3563263 h 3563263"/>
              <a:gd name="connsiteX4" fmla="*/ 1587398 w 7454190"/>
              <a:gd name="connsiteY4" fmla="*/ 15391 h 3563263"/>
              <a:gd name="connsiteX5" fmla="*/ 1865376 w 7454190"/>
              <a:gd name="connsiteY5" fmla="*/ 2239211 h 3563263"/>
              <a:gd name="connsiteX6" fmla="*/ 2038831 w 7454190"/>
              <a:gd name="connsiteY6" fmla="*/ 1875718 h 3563263"/>
              <a:gd name="connsiteX7" fmla="*/ 3457980 w 7454190"/>
              <a:gd name="connsiteY7" fmla="*/ 1890349 h 3563263"/>
              <a:gd name="connsiteX8" fmla="*/ 2443277 w 7454190"/>
              <a:gd name="connsiteY8" fmla="*/ 490879 h 3563263"/>
              <a:gd name="connsiteX9" fmla="*/ 3043123 w 7454190"/>
              <a:gd name="connsiteY9" fmla="*/ 761 h 3563263"/>
              <a:gd name="connsiteX10" fmla="*/ 3803904 w 7454190"/>
              <a:gd name="connsiteY10" fmla="*/ 395781 h 3563263"/>
              <a:gd name="connsiteX11" fmla="*/ 4586631 w 7454190"/>
              <a:gd name="connsiteY11" fmla="*/ 22706 h 3563263"/>
              <a:gd name="connsiteX12" fmla="*/ 5171847 w 7454190"/>
              <a:gd name="connsiteY12" fmla="*/ 483564 h 3563263"/>
              <a:gd name="connsiteX13" fmla="*/ 4140402 w 7454190"/>
              <a:gd name="connsiteY13" fmla="*/ 1880768 h 3563263"/>
              <a:gd name="connsiteX14" fmla="*/ 5498920 w 7454190"/>
              <a:gd name="connsiteY14" fmla="*/ 1897663 h 3563263"/>
              <a:gd name="connsiteX15" fmla="*/ 5720487 w 7454190"/>
              <a:gd name="connsiteY15" fmla="*/ 2239211 h 3563263"/>
              <a:gd name="connsiteX16" fmla="*/ 6005780 w 7454190"/>
              <a:gd name="connsiteY16" fmla="*/ 761 h 3563263"/>
              <a:gd name="connsiteX17" fmla="*/ 6269127 w 7454190"/>
              <a:gd name="connsiteY17" fmla="*/ 3534002 h 3563263"/>
              <a:gd name="connsiteX18" fmla="*/ 6590995 w 7454190"/>
              <a:gd name="connsiteY18" fmla="*/ 1251660 h 3563263"/>
              <a:gd name="connsiteX19" fmla="*/ 6686093 w 7454190"/>
              <a:gd name="connsiteY19" fmla="*/ 1895397 h 3563263"/>
              <a:gd name="connsiteX20" fmla="*/ 7454190 w 7454190"/>
              <a:gd name="connsiteY20" fmla="*/ 1895398 h 3563263"/>
              <a:gd name="connsiteX0" fmla="*/ 0 w 7454190"/>
              <a:gd name="connsiteY0" fmla="*/ 1873451 h 3563263"/>
              <a:gd name="connsiteX1" fmla="*/ 907085 w 7454190"/>
              <a:gd name="connsiteY1" fmla="*/ 1866137 h 3563263"/>
              <a:gd name="connsiteX2" fmla="*/ 1009498 w 7454190"/>
              <a:gd name="connsiteY2" fmla="*/ 1237030 h 3563263"/>
              <a:gd name="connsiteX3" fmla="*/ 1294790 w 7454190"/>
              <a:gd name="connsiteY3" fmla="*/ 3563263 h 3563263"/>
              <a:gd name="connsiteX4" fmla="*/ 1587398 w 7454190"/>
              <a:gd name="connsiteY4" fmla="*/ 15391 h 3563263"/>
              <a:gd name="connsiteX5" fmla="*/ 1865376 w 7454190"/>
              <a:gd name="connsiteY5" fmla="*/ 2239211 h 3563263"/>
              <a:gd name="connsiteX6" fmla="*/ 2038831 w 7454190"/>
              <a:gd name="connsiteY6" fmla="*/ 1875718 h 3563263"/>
              <a:gd name="connsiteX7" fmla="*/ 3457980 w 7454190"/>
              <a:gd name="connsiteY7" fmla="*/ 1890349 h 3563263"/>
              <a:gd name="connsiteX8" fmla="*/ 2443277 w 7454190"/>
              <a:gd name="connsiteY8" fmla="*/ 490879 h 3563263"/>
              <a:gd name="connsiteX9" fmla="*/ 3043123 w 7454190"/>
              <a:gd name="connsiteY9" fmla="*/ 761 h 3563263"/>
              <a:gd name="connsiteX10" fmla="*/ 3803904 w 7454190"/>
              <a:gd name="connsiteY10" fmla="*/ 395781 h 3563263"/>
              <a:gd name="connsiteX11" fmla="*/ 4586631 w 7454190"/>
              <a:gd name="connsiteY11" fmla="*/ 22706 h 3563263"/>
              <a:gd name="connsiteX12" fmla="*/ 5171847 w 7454190"/>
              <a:gd name="connsiteY12" fmla="*/ 483564 h 3563263"/>
              <a:gd name="connsiteX13" fmla="*/ 4140402 w 7454190"/>
              <a:gd name="connsiteY13" fmla="*/ 1880768 h 3563263"/>
              <a:gd name="connsiteX14" fmla="*/ 5498920 w 7454190"/>
              <a:gd name="connsiteY14" fmla="*/ 1897663 h 3563263"/>
              <a:gd name="connsiteX15" fmla="*/ 5720487 w 7454190"/>
              <a:gd name="connsiteY15" fmla="*/ 2239211 h 3563263"/>
              <a:gd name="connsiteX16" fmla="*/ 6005780 w 7454190"/>
              <a:gd name="connsiteY16" fmla="*/ 761 h 3563263"/>
              <a:gd name="connsiteX17" fmla="*/ 6269127 w 7454190"/>
              <a:gd name="connsiteY17" fmla="*/ 3534002 h 3563263"/>
              <a:gd name="connsiteX18" fmla="*/ 6590995 w 7454190"/>
              <a:gd name="connsiteY18" fmla="*/ 1251660 h 3563263"/>
              <a:gd name="connsiteX19" fmla="*/ 6686093 w 7454190"/>
              <a:gd name="connsiteY19" fmla="*/ 1895397 h 3563263"/>
              <a:gd name="connsiteX20" fmla="*/ 7454190 w 7454190"/>
              <a:gd name="connsiteY20" fmla="*/ 1895398 h 3563263"/>
              <a:gd name="connsiteX0" fmla="*/ 0 w 7454190"/>
              <a:gd name="connsiteY0" fmla="*/ 1873451 h 3563263"/>
              <a:gd name="connsiteX1" fmla="*/ 907085 w 7454190"/>
              <a:gd name="connsiteY1" fmla="*/ 1866137 h 3563263"/>
              <a:gd name="connsiteX2" fmla="*/ 1009498 w 7454190"/>
              <a:gd name="connsiteY2" fmla="*/ 1237030 h 3563263"/>
              <a:gd name="connsiteX3" fmla="*/ 1294790 w 7454190"/>
              <a:gd name="connsiteY3" fmla="*/ 3563263 h 3563263"/>
              <a:gd name="connsiteX4" fmla="*/ 1587398 w 7454190"/>
              <a:gd name="connsiteY4" fmla="*/ 15391 h 3563263"/>
              <a:gd name="connsiteX5" fmla="*/ 1865376 w 7454190"/>
              <a:gd name="connsiteY5" fmla="*/ 2239211 h 3563263"/>
              <a:gd name="connsiteX6" fmla="*/ 2038831 w 7454190"/>
              <a:gd name="connsiteY6" fmla="*/ 1875718 h 3563263"/>
              <a:gd name="connsiteX7" fmla="*/ 3457980 w 7454190"/>
              <a:gd name="connsiteY7" fmla="*/ 1890349 h 3563263"/>
              <a:gd name="connsiteX8" fmla="*/ 2443277 w 7454190"/>
              <a:gd name="connsiteY8" fmla="*/ 490879 h 3563263"/>
              <a:gd name="connsiteX9" fmla="*/ 3043123 w 7454190"/>
              <a:gd name="connsiteY9" fmla="*/ 761 h 3563263"/>
              <a:gd name="connsiteX10" fmla="*/ 3803904 w 7454190"/>
              <a:gd name="connsiteY10" fmla="*/ 395781 h 3563263"/>
              <a:gd name="connsiteX11" fmla="*/ 4586631 w 7454190"/>
              <a:gd name="connsiteY11" fmla="*/ 22706 h 3563263"/>
              <a:gd name="connsiteX12" fmla="*/ 5171847 w 7454190"/>
              <a:gd name="connsiteY12" fmla="*/ 483564 h 3563263"/>
              <a:gd name="connsiteX13" fmla="*/ 4140402 w 7454190"/>
              <a:gd name="connsiteY13" fmla="*/ 1880768 h 3563263"/>
              <a:gd name="connsiteX14" fmla="*/ 5498920 w 7454190"/>
              <a:gd name="connsiteY14" fmla="*/ 1897663 h 3563263"/>
              <a:gd name="connsiteX15" fmla="*/ 5720487 w 7454190"/>
              <a:gd name="connsiteY15" fmla="*/ 2239211 h 3563263"/>
              <a:gd name="connsiteX16" fmla="*/ 6005780 w 7454190"/>
              <a:gd name="connsiteY16" fmla="*/ 761 h 3563263"/>
              <a:gd name="connsiteX17" fmla="*/ 6269127 w 7454190"/>
              <a:gd name="connsiteY17" fmla="*/ 3534002 h 3563263"/>
              <a:gd name="connsiteX18" fmla="*/ 6590995 w 7454190"/>
              <a:gd name="connsiteY18" fmla="*/ 1251660 h 3563263"/>
              <a:gd name="connsiteX19" fmla="*/ 6686093 w 7454190"/>
              <a:gd name="connsiteY19" fmla="*/ 1895397 h 3563263"/>
              <a:gd name="connsiteX20" fmla="*/ 7454190 w 7454190"/>
              <a:gd name="connsiteY20" fmla="*/ 1895398 h 3563263"/>
              <a:gd name="connsiteX0" fmla="*/ 0 w 9049317"/>
              <a:gd name="connsiteY0" fmla="*/ 1873451 h 3563263"/>
              <a:gd name="connsiteX1" fmla="*/ 907085 w 9049317"/>
              <a:gd name="connsiteY1" fmla="*/ 1866137 h 3563263"/>
              <a:gd name="connsiteX2" fmla="*/ 1009498 w 9049317"/>
              <a:gd name="connsiteY2" fmla="*/ 1237030 h 3563263"/>
              <a:gd name="connsiteX3" fmla="*/ 1294790 w 9049317"/>
              <a:gd name="connsiteY3" fmla="*/ 3563263 h 3563263"/>
              <a:gd name="connsiteX4" fmla="*/ 1587398 w 9049317"/>
              <a:gd name="connsiteY4" fmla="*/ 15391 h 3563263"/>
              <a:gd name="connsiteX5" fmla="*/ 1865376 w 9049317"/>
              <a:gd name="connsiteY5" fmla="*/ 2239211 h 3563263"/>
              <a:gd name="connsiteX6" fmla="*/ 2038831 w 9049317"/>
              <a:gd name="connsiteY6" fmla="*/ 1875718 h 3563263"/>
              <a:gd name="connsiteX7" fmla="*/ 3457980 w 9049317"/>
              <a:gd name="connsiteY7" fmla="*/ 1890349 h 3563263"/>
              <a:gd name="connsiteX8" fmla="*/ 2443277 w 9049317"/>
              <a:gd name="connsiteY8" fmla="*/ 490879 h 3563263"/>
              <a:gd name="connsiteX9" fmla="*/ 3043123 w 9049317"/>
              <a:gd name="connsiteY9" fmla="*/ 761 h 3563263"/>
              <a:gd name="connsiteX10" fmla="*/ 3803904 w 9049317"/>
              <a:gd name="connsiteY10" fmla="*/ 395781 h 3563263"/>
              <a:gd name="connsiteX11" fmla="*/ 4586631 w 9049317"/>
              <a:gd name="connsiteY11" fmla="*/ 22706 h 3563263"/>
              <a:gd name="connsiteX12" fmla="*/ 5171847 w 9049317"/>
              <a:gd name="connsiteY12" fmla="*/ 483564 h 3563263"/>
              <a:gd name="connsiteX13" fmla="*/ 4140402 w 9049317"/>
              <a:gd name="connsiteY13" fmla="*/ 1880768 h 3563263"/>
              <a:gd name="connsiteX14" fmla="*/ 5498920 w 9049317"/>
              <a:gd name="connsiteY14" fmla="*/ 1897663 h 3563263"/>
              <a:gd name="connsiteX15" fmla="*/ 5720487 w 9049317"/>
              <a:gd name="connsiteY15" fmla="*/ 2239211 h 3563263"/>
              <a:gd name="connsiteX16" fmla="*/ 6005780 w 9049317"/>
              <a:gd name="connsiteY16" fmla="*/ 761 h 3563263"/>
              <a:gd name="connsiteX17" fmla="*/ 6269127 w 9049317"/>
              <a:gd name="connsiteY17" fmla="*/ 3534002 h 3563263"/>
              <a:gd name="connsiteX18" fmla="*/ 6590995 w 9049317"/>
              <a:gd name="connsiteY18" fmla="*/ 1251660 h 3563263"/>
              <a:gd name="connsiteX19" fmla="*/ 6686093 w 9049317"/>
              <a:gd name="connsiteY19" fmla="*/ 1895397 h 3563263"/>
              <a:gd name="connsiteX20" fmla="*/ 9049317 w 9049317"/>
              <a:gd name="connsiteY20" fmla="*/ 1903256 h 3563263"/>
              <a:gd name="connsiteX0" fmla="*/ 0 w 9151469"/>
              <a:gd name="connsiteY0" fmla="*/ 1873451 h 3563263"/>
              <a:gd name="connsiteX1" fmla="*/ 907085 w 9151469"/>
              <a:gd name="connsiteY1" fmla="*/ 1866137 h 3563263"/>
              <a:gd name="connsiteX2" fmla="*/ 1009498 w 9151469"/>
              <a:gd name="connsiteY2" fmla="*/ 1237030 h 3563263"/>
              <a:gd name="connsiteX3" fmla="*/ 1294790 w 9151469"/>
              <a:gd name="connsiteY3" fmla="*/ 3563263 h 3563263"/>
              <a:gd name="connsiteX4" fmla="*/ 1587398 w 9151469"/>
              <a:gd name="connsiteY4" fmla="*/ 15391 h 3563263"/>
              <a:gd name="connsiteX5" fmla="*/ 1865376 w 9151469"/>
              <a:gd name="connsiteY5" fmla="*/ 2239211 h 3563263"/>
              <a:gd name="connsiteX6" fmla="*/ 2038831 w 9151469"/>
              <a:gd name="connsiteY6" fmla="*/ 1875718 h 3563263"/>
              <a:gd name="connsiteX7" fmla="*/ 3457980 w 9151469"/>
              <a:gd name="connsiteY7" fmla="*/ 1890349 h 3563263"/>
              <a:gd name="connsiteX8" fmla="*/ 2443277 w 9151469"/>
              <a:gd name="connsiteY8" fmla="*/ 490879 h 3563263"/>
              <a:gd name="connsiteX9" fmla="*/ 3043123 w 9151469"/>
              <a:gd name="connsiteY9" fmla="*/ 761 h 3563263"/>
              <a:gd name="connsiteX10" fmla="*/ 3803904 w 9151469"/>
              <a:gd name="connsiteY10" fmla="*/ 395781 h 3563263"/>
              <a:gd name="connsiteX11" fmla="*/ 4586631 w 9151469"/>
              <a:gd name="connsiteY11" fmla="*/ 22706 h 3563263"/>
              <a:gd name="connsiteX12" fmla="*/ 5171847 w 9151469"/>
              <a:gd name="connsiteY12" fmla="*/ 483564 h 3563263"/>
              <a:gd name="connsiteX13" fmla="*/ 4140402 w 9151469"/>
              <a:gd name="connsiteY13" fmla="*/ 1880768 h 3563263"/>
              <a:gd name="connsiteX14" fmla="*/ 5498920 w 9151469"/>
              <a:gd name="connsiteY14" fmla="*/ 1897663 h 3563263"/>
              <a:gd name="connsiteX15" fmla="*/ 5720487 w 9151469"/>
              <a:gd name="connsiteY15" fmla="*/ 2239211 h 3563263"/>
              <a:gd name="connsiteX16" fmla="*/ 6005780 w 9151469"/>
              <a:gd name="connsiteY16" fmla="*/ 761 h 3563263"/>
              <a:gd name="connsiteX17" fmla="*/ 6269127 w 9151469"/>
              <a:gd name="connsiteY17" fmla="*/ 3534002 h 3563263"/>
              <a:gd name="connsiteX18" fmla="*/ 6590995 w 9151469"/>
              <a:gd name="connsiteY18" fmla="*/ 1251660 h 3563263"/>
              <a:gd name="connsiteX19" fmla="*/ 6686093 w 9151469"/>
              <a:gd name="connsiteY19" fmla="*/ 1895397 h 3563263"/>
              <a:gd name="connsiteX20" fmla="*/ 9151469 w 9151469"/>
              <a:gd name="connsiteY20" fmla="*/ 1903256 h 3563263"/>
              <a:gd name="connsiteX0" fmla="*/ 0 w 9088607"/>
              <a:gd name="connsiteY0" fmla="*/ 1873451 h 3563263"/>
              <a:gd name="connsiteX1" fmla="*/ 907085 w 9088607"/>
              <a:gd name="connsiteY1" fmla="*/ 1866137 h 3563263"/>
              <a:gd name="connsiteX2" fmla="*/ 1009498 w 9088607"/>
              <a:gd name="connsiteY2" fmla="*/ 1237030 h 3563263"/>
              <a:gd name="connsiteX3" fmla="*/ 1294790 w 9088607"/>
              <a:gd name="connsiteY3" fmla="*/ 3563263 h 3563263"/>
              <a:gd name="connsiteX4" fmla="*/ 1587398 w 9088607"/>
              <a:gd name="connsiteY4" fmla="*/ 15391 h 3563263"/>
              <a:gd name="connsiteX5" fmla="*/ 1865376 w 9088607"/>
              <a:gd name="connsiteY5" fmla="*/ 2239211 h 3563263"/>
              <a:gd name="connsiteX6" fmla="*/ 2038831 w 9088607"/>
              <a:gd name="connsiteY6" fmla="*/ 1875718 h 3563263"/>
              <a:gd name="connsiteX7" fmla="*/ 3457980 w 9088607"/>
              <a:gd name="connsiteY7" fmla="*/ 1890349 h 3563263"/>
              <a:gd name="connsiteX8" fmla="*/ 2443277 w 9088607"/>
              <a:gd name="connsiteY8" fmla="*/ 490879 h 3563263"/>
              <a:gd name="connsiteX9" fmla="*/ 3043123 w 9088607"/>
              <a:gd name="connsiteY9" fmla="*/ 761 h 3563263"/>
              <a:gd name="connsiteX10" fmla="*/ 3803904 w 9088607"/>
              <a:gd name="connsiteY10" fmla="*/ 395781 h 3563263"/>
              <a:gd name="connsiteX11" fmla="*/ 4586631 w 9088607"/>
              <a:gd name="connsiteY11" fmla="*/ 22706 h 3563263"/>
              <a:gd name="connsiteX12" fmla="*/ 5171847 w 9088607"/>
              <a:gd name="connsiteY12" fmla="*/ 483564 h 3563263"/>
              <a:gd name="connsiteX13" fmla="*/ 4140402 w 9088607"/>
              <a:gd name="connsiteY13" fmla="*/ 1880768 h 3563263"/>
              <a:gd name="connsiteX14" fmla="*/ 5498920 w 9088607"/>
              <a:gd name="connsiteY14" fmla="*/ 1897663 h 3563263"/>
              <a:gd name="connsiteX15" fmla="*/ 5720487 w 9088607"/>
              <a:gd name="connsiteY15" fmla="*/ 2239211 h 3563263"/>
              <a:gd name="connsiteX16" fmla="*/ 6005780 w 9088607"/>
              <a:gd name="connsiteY16" fmla="*/ 761 h 3563263"/>
              <a:gd name="connsiteX17" fmla="*/ 6269127 w 9088607"/>
              <a:gd name="connsiteY17" fmla="*/ 3534002 h 3563263"/>
              <a:gd name="connsiteX18" fmla="*/ 6590995 w 9088607"/>
              <a:gd name="connsiteY18" fmla="*/ 1251660 h 3563263"/>
              <a:gd name="connsiteX19" fmla="*/ 6686093 w 9088607"/>
              <a:gd name="connsiteY19" fmla="*/ 1895397 h 3563263"/>
              <a:gd name="connsiteX20" fmla="*/ 9088607 w 9088607"/>
              <a:gd name="connsiteY20" fmla="*/ 1903256 h 3563263"/>
              <a:gd name="connsiteX0" fmla="*/ 0 w 10526578"/>
              <a:gd name="connsiteY0" fmla="*/ 1881309 h 3563263"/>
              <a:gd name="connsiteX1" fmla="*/ 2345056 w 10526578"/>
              <a:gd name="connsiteY1" fmla="*/ 1866137 h 3563263"/>
              <a:gd name="connsiteX2" fmla="*/ 2447469 w 10526578"/>
              <a:gd name="connsiteY2" fmla="*/ 1237030 h 3563263"/>
              <a:gd name="connsiteX3" fmla="*/ 2732761 w 10526578"/>
              <a:gd name="connsiteY3" fmla="*/ 3563263 h 3563263"/>
              <a:gd name="connsiteX4" fmla="*/ 3025369 w 10526578"/>
              <a:gd name="connsiteY4" fmla="*/ 15391 h 3563263"/>
              <a:gd name="connsiteX5" fmla="*/ 3303347 w 10526578"/>
              <a:gd name="connsiteY5" fmla="*/ 2239211 h 3563263"/>
              <a:gd name="connsiteX6" fmla="*/ 3476802 w 10526578"/>
              <a:gd name="connsiteY6" fmla="*/ 1875718 h 3563263"/>
              <a:gd name="connsiteX7" fmla="*/ 4895951 w 10526578"/>
              <a:gd name="connsiteY7" fmla="*/ 1890349 h 3563263"/>
              <a:gd name="connsiteX8" fmla="*/ 3881248 w 10526578"/>
              <a:gd name="connsiteY8" fmla="*/ 490879 h 3563263"/>
              <a:gd name="connsiteX9" fmla="*/ 4481094 w 10526578"/>
              <a:gd name="connsiteY9" fmla="*/ 761 h 3563263"/>
              <a:gd name="connsiteX10" fmla="*/ 5241875 w 10526578"/>
              <a:gd name="connsiteY10" fmla="*/ 395781 h 3563263"/>
              <a:gd name="connsiteX11" fmla="*/ 6024602 w 10526578"/>
              <a:gd name="connsiteY11" fmla="*/ 22706 h 3563263"/>
              <a:gd name="connsiteX12" fmla="*/ 6609818 w 10526578"/>
              <a:gd name="connsiteY12" fmla="*/ 483564 h 3563263"/>
              <a:gd name="connsiteX13" fmla="*/ 5578373 w 10526578"/>
              <a:gd name="connsiteY13" fmla="*/ 1880768 h 3563263"/>
              <a:gd name="connsiteX14" fmla="*/ 6936891 w 10526578"/>
              <a:gd name="connsiteY14" fmla="*/ 1897663 h 3563263"/>
              <a:gd name="connsiteX15" fmla="*/ 7158458 w 10526578"/>
              <a:gd name="connsiteY15" fmla="*/ 2239211 h 3563263"/>
              <a:gd name="connsiteX16" fmla="*/ 7443751 w 10526578"/>
              <a:gd name="connsiteY16" fmla="*/ 761 h 3563263"/>
              <a:gd name="connsiteX17" fmla="*/ 7707098 w 10526578"/>
              <a:gd name="connsiteY17" fmla="*/ 3534002 h 3563263"/>
              <a:gd name="connsiteX18" fmla="*/ 8028966 w 10526578"/>
              <a:gd name="connsiteY18" fmla="*/ 1251660 h 3563263"/>
              <a:gd name="connsiteX19" fmla="*/ 8124064 w 10526578"/>
              <a:gd name="connsiteY19" fmla="*/ 1895397 h 3563263"/>
              <a:gd name="connsiteX20" fmla="*/ 10526578 w 10526578"/>
              <a:gd name="connsiteY20" fmla="*/ 1903256 h 3563263"/>
              <a:gd name="connsiteX0" fmla="*/ 0 w 10526578"/>
              <a:gd name="connsiteY0" fmla="*/ 1881309 h 3563263"/>
              <a:gd name="connsiteX1" fmla="*/ 2345056 w 10526578"/>
              <a:gd name="connsiteY1" fmla="*/ 1866137 h 3563263"/>
              <a:gd name="connsiteX2" fmla="*/ 2447469 w 10526578"/>
              <a:gd name="connsiteY2" fmla="*/ 1237030 h 3563263"/>
              <a:gd name="connsiteX3" fmla="*/ 2732761 w 10526578"/>
              <a:gd name="connsiteY3" fmla="*/ 3563263 h 3563263"/>
              <a:gd name="connsiteX4" fmla="*/ 3025369 w 10526578"/>
              <a:gd name="connsiteY4" fmla="*/ 15391 h 3563263"/>
              <a:gd name="connsiteX5" fmla="*/ 3303347 w 10526578"/>
              <a:gd name="connsiteY5" fmla="*/ 2239211 h 3563263"/>
              <a:gd name="connsiteX6" fmla="*/ 3476802 w 10526578"/>
              <a:gd name="connsiteY6" fmla="*/ 1875718 h 3563263"/>
              <a:gd name="connsiteX7" fmla="*/ 4895951 w 10526578"/>
              <a:gd name="connsiteY7" fmla="*/ 1890349 h 3563263"/>
              <a:gd name="connsiteX8" fmla="*/ 3881248 w 10526578"/>
              <a:gd name="connsiteY8" fmla="*/ 490879 h 3563263"/>
              <a:gd name="connsiteX9" fmla="*/ 4481094 w 10526578"/>
              <a:gd name="connsiteY9" fmla="*/ 761 h 3563263"/>
              <a:gd name="connsiteX10" fmla="*/ 5241875 w 10526578"/>
              <a:gd name="connsiteY10" fmla="*/ 395782 h 3563263"/>
              <a:gd name="connsiteX11" fmla="*/ 6024602 w 10526578"/>
              <a:gd name="connsiteY11" fmla="*/ 22706 h 3563263"/>
              <a:gd name="connsiteX12" fmla="*/ 6609818 w 10526578"/>
              <a:gd name="connsiteY12" fmla="*/ 483564 h 3563263"/>
              <a:gd name="connsiteX13" fmla="*/ 5578373 w 10526578"/>
              <a:gd name="connsiteY13" fmla="*/ 1880768 h 3563263"/>
              <a:gd name="connsiteX14" fmla="*/ 6936891 w 10526578"/>
              <a:gd name="connsiteY14" fmla="*/ 1897663 h 3563263"/>
              <a:gd name="connsiteX15" fmla="*/ 7158458 w 10526578"/>
              <a:gd name="connsiteY15" fmla="*/ 2239211 h 3563263"/>
              <a:gd name="connsiteX16" fmla="*/ 7443751 w 10526578"/>
              <a:gd name="connsiteY16" fmla="*/ 761 h 3563263"/>
              <a:gd name="connsiteX17" fmla="*/ 7707098 w 10526578"/>
              <a:gd name="connsiteY17" fmla="*/ 3534002 h 3563263"/>
              <a:gd name="connsiteX18" fmla="*/ 8028966 w 10526578"/>
              <a:gd name="connsiteY18" fmla="*/ 1251660 h 3563263"/>
              <a:gd name="connsiteX19" fmla="*/ 8124064 w 10526578"/>
              <a:gd name="connsiteY19" fmla="*/ 1895397 h 3563263"/>
              <a:gd name="connsiteX20" fmla="*/ 10526578 w 10526578"/>
              <a:gd name="connsiteY20" fmla="*/ 1903256 h 3563263"/>
              <a:gd name="connsiteX0" fmla="*/ 0 w 10526578"/>
              <a:gd name="connsiteY0" fmla="*/ 1881309 h 3563263"/>
              <a:gd name="connsiteX1" fmla="*/ 2345056 w 10526578"/>
              <a:gd name="connsiteY1" fmla="*/ 1866137 h 3563263"/>
              <a:gd name="connsiteX2" fmla="*/ 2447469 w 10526578"/>
              <a:gd name="connsiteY2" fmla="*/ 1237030 h 3563263"/>
              <a:gd name="connsiteX3" fmla="*/ 2732761 w 10526578"/>
              <a:gd name="connsiteY3" fmla="*/ 3563263 h 3563263"/>
              <a:gd name="connsiteX4" fmla="*/ 3025369 w 10526578"/>
              <a:gd name="connsiteY4" fmla="*/ 15391 h 3563263"/>
              <a:gd name="connsiteX5" fmla="*/ 3303347 w 10526578"/>
              <a:gd name="connsiteY5" fmla="*/ 2239211 h 3563263"/>
              <a:gd name="connsiteX6" fmla="*/ 3476802 w 10526578"/>
              <a:gd name="connsiteY6" fmla="*/ 1875718 h 3563263"/>
              <a:gd name="connsiteX7" fmla="*/ 4895951 w 10526578"/>
              <a:gd name="connsiteY7" fmla="*/ 1890349 h 3563263"/>
              <a:gd name="connsiteX8" fmla="*/ 3881248 w 10526578"/>
              <a:gd name="connsiteY8" fmla="*/ 490879 h 3563263"/>
              <a:gd name="connsiteX9" fmla="*/ 4481094 w 10526578"/>
              <a:gd name="connsiteY9" fmla="*/ 761 h 3563263"/>
              <a:gd name="connsiteX10" fmla="*/ 5241875 w 10526578"/>
              <a:gd name="connsiteY10" fmla="*/ 395782 h 3563263"/>
              <a:gd name="connsiteX11" fmla="*/ 6024602 w 10526578"/>
              <a:gd name="connsiteY11" fmla="*/ 22706 h 3563263"/>
              <a:gd name="connsiteX12" fmla="*/ 6609818 w 10526578"/>
              <a:gd name="connsiteY12" fmla="*/ 483564 h 3563263"/>
              <a:gd name="connsiteX13" fmla="*/ 5578373 w 10526578"/>
              <a:gd name="connsiteY13" fmla="*/ 1880768 h 3563263"/>
              <a:gd name="connsiteX14" fmla="*/ 6936891 w 10526578"/>
              <a:gd name="connsiteY14" fmla="*/ 1897663 h 3563263"/>
              <a:gd name="connsiteX15" fmla="*/ 7158458 w 10526578"/>
              <a:gd name="connsiteY15" fmla="*/ 2239211 h 3563263"/>
              <a:gd name="connsiteX16" fmla="*/ 7443751 w 10526578"/>
              <a:gd name="connsiteY16" fmla="*/ 761 h 3563263"/>
              <a:gd name="connsiteX17" fmla="*/ 7707098 w 10526578"/>
              <a:gd name="connsiteY17" fmla="*/ 3534002 h 3563263"/>
              <a:gd name="connsiteX18" fmla="*/ 8028966 w 10526578"/>
              <a:gd name="connsiteY18" fmla="*/ 1251660 h 3563263"/>
              <a:gd name="connsiteX19" fmla="*/ 8124064 w 10526578"/>
              <a:gd name="connsiteY19" fmla="*/ 1895397 h 3563263"/>
              <a:gd name="connsiteX20" fmla="*/ 10526578 w 10526578"/>
              <a:gd name="connsiteY20" fmla="*/ 1903256 h 3563263"/>
              <a:gd name="connsiteX0" fmla="*/ 0 w 10526578"/>
              <a:gd name="connsiteY0" fmla="*/ 1881309 h 3563263"/>
              <a:gd name="connsiteX1" fmla="*/ 2345056 w 10526578"/>
              <a:gd name="connsiteY1" fmla="*/ 1866137 h 3563263"/>
              <a:gd name="connsiteX2" fmla="*/ 2447469 w 10526578"/>
              <a:gd name="connsiteY2" fmla="*/ 1237030 h 3563263"/>
              <a:gd name="connsiteX3" fmla="*/ 2732761 w 10526578"/>
              <a:gd name="connsiteY3" fmla="*/ 3563263 h 3563263"/>
              <a:gd name="connsiteX4" fmla="*/ 3025369 w 10526578"/>
              <a:gd name="connsiteY4" fmla="*/ 15391 h 3563263"/>
              <a:gd name="connsiteX5" fmla="*/ 3303347 w 10526578"/>
              <a:gd name="connsiteY5" fmla="*/ 2239211 h 3563263"/>
              <a:gd name="connsiteX6" fmla="*/ 3476802 w 10526578"/>
              <a:gd name="connsiteY6" fmla="*/ 1875718 h 3563263"/>
              <a:gd name="connsiteX7" fmla="*/ 4895951 w 10526578"/>
              <a:gd name="connsiteY7" fmla="*/ 1890349 h 3563263"/>
              <a:gd name="connsiteX8" fmla="*/ 3881248 w 10526578"/>
              <a:gd name="connsiteY8" fmla="*/ 490879 h 3563263"/>
              <a:gd name="connsiteX9" fmla="*/ 4481094 w 10526578"/>
              <a:gd name="connsiteY9" fmla="*/ 761 h 3563263"/>
              <a:gd name="connsiteX10" fmla="*/ 5241875 w 10526578"/>
              <a:gd name="connsiteY10" fmla="*/ 395782 h 3563263"/>
              <a:gd name="connsiteX11" fmla="*/ 6024602 w 10526578"/>
              <a:gd name="connsiteY11" fmla="*/ 22706 h 3563263"/>
              <a:gd name="connsiteX12" fmla="*/ 6609818 w 10526578"/>
              <a:gd name="connsiteY12" fmla="*/ 483564 h 3563263"/>
              <a:gd name="connsiteX13" fmla="*/ 5578373 w 10526578"/>
              <a:gd name="connsiteY13" fmla="*/ 1880768 h 3563263"/>
              <a:gd name="connsiteX14" fmla="*/ 6936891 w 10526578"/>
              <a:gd name="connsiteY14" fmla="*/ 1897663 h 3563263"/>
              <a:gd name="connsiteX15" fmla="*/ 7158458 w 10526578"/>
              <a:gd name="connsiteY15" fmla="*/ 2239211 h 3563263"/>
              <a:gd name="connsiteX16" fmla="*/ 7443751 w 10526578"/>
              <a:gd name="connsiteY16" fmla="*/ 761 h 3563263"/>
              <a:gd name="connsiteX17" fmla="*/ 7707098 w 10526578"/>
              <a:gd name="connsiteY17" fmla="*/ 3534002 h 3563263"/>
              <a:gd name="connsiteX18" fmla="*/ 8028966 w 10526578"/>
              <a:gd name="connsiteY18" fmla="*/ 1251660 h 3563263"/>
              <a:gd name="connsiteX19" fmla="*/ 8124064 w 10526578"/>
              <a:gd name="connsiteY19" fmla="*/ 1895397 h 3563263"/>
              <a:gd name="connsiteX20" fmla="*/ 10526578 w 10526578"/>
              <a:gd name="connsiteY20" fmla="*/ 1903256 h 3563263"/>
              <a:gd name="connsiteX0" fmla="*/ 0 w 10526578"/>
              <a:gd name="connsiteY0" fmla="*/ 1930018 h 3611972"/>
              <a:gd name="connsiteX1" fmla="*/ 2345056 w 10526578"/>
              <a:gd name="connsiteY1" fmla="*/ 1914846 h 3611972"/>
              <a:gd name="connsiteX2" fmla="*/ 2447469 w 10526578"/>
              <a:gd name="connsiteY2" fmla="*/ 1285739 h 3611972"/>
              <a:gd name="connsiteX3" fmla="*/ 2732761 w 10526578"/>
              <a:gd name="connsiteY3" fmla="*/ 3611972 h 3611972"/>
              <a:gd name="connsiteX4" fmla="*/ 3025369 w 10526578"/>
              <a:gd name="connsiteY4" fmla="*/ 64100 h 3611972"/>
              <a:gd name="connsiteX5" fmla="*/ 3303347 w 10526578"/>
              <a:gd name="connsiteY5" fmla="*/ 2287920 h 3611972"/>
              <a:gd name="connsiteX6" fmla="*/ 3476802 w 10526578"/>
              <a:gd name="connsiteY6" fmla="*/ 1924427 h 3611972"/>
              <a:gd name="connsiteX7" fmla="*/ 4895951 w 10526578"/>
              <a:gd name="connsiteY7" fmla="*/ 1939058 h 3611972"/>
              <a:gd name="connsiteX8" fmla="*/ 3881248 w 10526578"/>
              <a:gd name="connsiteY8" fmla="*/ 539588 h 3611972"/>
              <a:gd name="connsiteX9" fmla="*/ 4481094 w 10526578"/>
              <a:gd name="connsiteY9" fmla="*/ 49470 h 3611972"/>
              <a:gd name="connsiteX10" fmla="*/ 6024602 w 10526578"/>
              <a:gd name="connsiteY10" fmla="*/ 71415 h 3611972"/>
              <a:gd name="connsiteX11" fmla="*/ 6609818 w 10526578"/>
              <a:gd name="connsiteY11" fmla="*/ 532273 h 3611972"/>
              <a:gd name="connsiteX12" fmla="*/ 5578373 w 10526578"/>
              <a:gd name="connsiteY12" fmla="*/ 1929477 h 3611972"/>
              <a:gd name="connsiteX13" fmla="*/ 6936891 w 10526578"/>
              <a:gd name="connsiteY13" fmla="*/ 1946372 h 3611972"/>
              <a:gd name="connsiteX14" fmla="*/ 7158458 w 10526578"/>
              <a:gd name="connsiteY14" fmla="*/ 2287920 h 3611972"/>
              <a:gd name="connsiteX15" fmla="*/ 7443751 w 10526578"/>
              <a:gd name="connsiteY15" fmla="*/ 49470 h 3611972"/>
              <a:gd name="connsiteX16" fmla="*/ 7707098 w 10526578"/>
              <a:gd name="connsiteY16" fmla="*/ 3582711 h 3611972"/>
              <a:gd name="connsiteX17" fmla="*/ 8028966 w 10526578"/>
              <a:gd name="connsiteY17" fmla="*/ 1300369 h 3611972"/>
              <a:gd name="connsiteX18" fmla="*/ 8124064 w 10526578"/>
              <a:gd name="connsiteY18" fmla="*/ 1944106 h 3611972"/>
              <a:gd name="connsiteX19" fmla="*/ 10526578 w 10526578"/>
              <a:gd name="connsiteY19" fmla="*/ 1951965 h 3611972"/>
              <a:gd name="connsiteX0" fmla="*/ 0 w 10526578"/>
              <a:gd name="connsiteY0" fmla="*/ 1880549 h 3562503"/>
              <a:gd name="connsiteX1" fmla="*/ 2345056 w 10526578"/>
              <a:gd name="connsiteY1" fmla="*/ 1865377 h 3562503"/>
              <a:gd name="connsiteX2" fmla="*/ 2447469 w 10526578"/>
              <a:gd name="connsiteY2" fmla="*/ 1236270 h 3562503"/>
              <a:gd name="connsiteX3" fmla="*/ 2732761 w 10526578"/>
              <a:gd name="connsiteY3" fmla="*/ 3562503 h 3562503"/>
              <a:gd name="connsiteX4" fmla="*/ 3025369 w 10526578"/>
              <a:gd name="connsiteY4" fmla="*/ 14631 h 3562503"/>
              <a:gd name="connsiteX5" fmla="*/ 3303347 w 10526578"/>
              <a:gd name="connsiteY5" fmla="*/ 2238451 h 3562503"/>
              <a:gd name="connsiteX6" fmla="*/ 3476802 w 10526578"/>
              <a:gd name="connsiteY6" fmla="*/ 1874958 h 3562503"/>
              <a:gd name="connsiteX7" fmla="*/ 4895951 w 10526578"/>
              <a:gd name="connsiteY7" fmla="*/ 1889589 h 3562503"/>
              <a:gd name="connsiteX8" fmla="*/ 3881248 w 10526578"/>
              <a:gd name="connsiteY8" fmla="*/ 490119 h 3562503"/>
              <a:gd name="connsiteX9" fmla="*/ 6024602 w 10526578"/>
              <a:gd name="connsiteY9" fmla="*/ 21946 h 3562503"/>
              <a:gd name="connsiteX10" fmla="*/ 6609818 w 10526578"/>
              <a:gd name="connsiteY10" fmla="*/ 482804 h 3562503"/>
              <a:gd name="connsiteX11" fmla="*/ 5578373 w 10526578"/>
              <a:gd name="connsiteY11" fmla="*/ 1880008 h 3562503"/>
              <a:gd name="connsiteX12" fmla="*/ 6936891 w 10526578"/>
              <a:gd name="connsiteY12" fmla="*/ 1896903 h 3562503"/>
              <a:gd name="connsiteX13" fmla="*/ 7158458 w 10526578"/>
              <a:gd name="connsiteY13" fmla="*/ 2238451 h 3562503"/>
              <a:gd name="connsiteX14" fmla="*/ 7443751 w 10526578"/>
              <a:gd name="connsiteY14" fmla="*/ 1 h 3562503"/>
              <a:gd name="connsiteX15" fmla="*/ 7707098 w 10526578"/>
              <a:gd name="connsiteY15" fmla="*/ 3533242 h 3562503"/>
              <a:gd name="connsiteX16" fmla="*/ 8028966 w 10526578"/>
              <a:gd name="connsiteY16" fmla="*/ 1250900 h 3562503"/>
              <a:gd name="connsiteX17" fmla="*/ 8124064 w 10526578"/>
              <a:gd name="connsiteY17" fmla="*/ 1894637 h 3562503"/>
              <a:gd name="connsiteX18" fmla="*/ 10526578 w 10526578"/>
              <a:gd name="connsiteY18" fmla="*/ 1902496 h 3562503"/>
              <a:gd name="connsiteX0" fmla="*/ 0 w 10526578"/>
              <a:gd name="connsiteY0" fmla="*/ 1880549 h 3562503"/>
              <a:gd name="connsiteX1" fmla="*/ 2345056 w 10526578"/>
              <a:gd name="connsiteY1" fmla="*/ 1865377 h 3562503"/>
              <a:gd name="connsiteX2" fmla="*/ 2447469 w 10526578"/>
              <a:gd name="connsiteY2" fmla="*/ 1236270 h 3562503"/>
              <a:gd name="connsiteX3" fmla="*/ 2732761 w 10526578"/>
              <a:gd name="connsiteY3" fmla="*/ 3562503 h 3562503"/>
              <a:gd name="connsiteX4" fmla="*/ 3025369 w 10526578"/>
              <a:gd name="connsiteY4" fmla="*/ 14631 h 3562503"/>
              <a:gd name="connsiteX5" fmla="*/ 3303347 w 10526578"/>
              <a:gd name="connsiteY5" fmla="*/ 2238451 h 3562503"/>
              <a:gd name="connsiteX6" fmla="*/ 3476802 w 10526578"/>
              <a:gd name="connsiteY6" fmla="*/ 1874958 h 3562503"/>
              <a:gd name="connsiteX7" fmla="*/ 4895951 w 10526578"/>
              <a:gd name="connsiteY7" fmla="*/ 1889589 h 3562503"/>
              <a:gd name="connsiteX8" fmla="*/ 6024602 w 10526578"/>
              <a:gd name="connsiteY8" fmla="*/ 21946 h 3562503"/>
              <a:gd name="connsiteX9" fmla="*/ 6609818 w 10526578"/>
              <a:gd name="connsiteY9" fmla="*/ 482804 h 3562503"/>
              <a:gd name="connsiteX10" fmla="*/ 5578373 w 10526578"/>
              <a:gd name="connsiteY10" fmla="*/ 1880008 h 3562503"/>
              <a:gd name="connsiteX11" fmla="*/ 6936891 w 10526578"/>
              <a:gd name="connsiteY11" fmla="*/ 1896903 h 3562503"/>
              <a:gd name="connsiteX12" fmla="*/ 7158458 w 10526578"/>
              <a:gd name="connsiteY12" fmla="*/ 2238451 h 3562503"/>
              <a:gd name="connsiteX13" fmla="*/ 7443751 w 10526578"/>
              <a:gd name="connsiteY13" fmla="*/ 1 h 3562503"/>
              <a:gd name="connsiteX14" fmla="*/ 7707098 w 10526578"/>
              <a:gd name="connsiteY14" fmla="*/ 3533242 h 3562503"/>
              <a:gd name="connsiteX15" fmla="*/ 8028966 w 10526578"/>
              <a:gd name="connsiteY15" fmla="*/ 1250900 h 3562503"/>
              <a:gd name="connsiteX16" fmla="*/ 8124064 w 10526578"/>
              <a:gd name="connsiteY16" fmla="*/ 1894637 h 3562503"/>
              <a:gd name="connsiteX17" fmla="*/ 10526578 w 10526578"/>
              <a:gd name="connsiteY17" fmla="*/ 1902496 h 3562503"/>
              <a:gd name="connsiteX0" fmla="*/ 0 w 10526578"/>
              <a:gd name="connsiteY0" fmla="*/ 1880549 h 3562503"/>
              <a:gd name="connsiteX1" fmla="*/ 2345056 w 10526578"/>
              <a:gd name="connsiteY1" fmla="*/ 1865377 h 3562503"/>
              <a:gd name="connsiteX2" fmla="*/ 2447469 w 10526578"/>
              <a:gd name="connsiteY2" fmla="*/ 1236270 h 3562503"/>
              <a:gd name="connsiteX3" fmla="*/ 2732761 w 10526578"/>
              <a:gd name="connsiteY3" fmla="*/ 3562503 h 3562503"/>
              <a:gd name="connsiteX4" fmla="*/ 3025369 w 10526578"/>
              <a:gd name="connsiteY4" fmla="*/ 14631 h 3562503"/>
              <a:gd name="connsiteX5" fmla="*/ 3303347 w 10526578"/>
              <a:gd name="connsiteY5" fmla="*/ 2238451 h 3562503"/>
              <a:gd name="connsiteX6" fmla="*/ 3476802 w 10526578"/>
              <a:gd name="connsiteY6" fmla="*/ 1874958 h 3562503"/>
              <a:gd name="connsiteX7" fmla="*/ 4895951 w 10526578"/>
              <a:gd name="connsiteY7" fmla="*/ 1889589 h 3562503"/>
              <a:gd name="connsiteX8" fmla="*/ 6609818 w 10526578"/>
              <a:gd name="connsiteY8" fmla="*/ 482804 h 3562503"/>
              <a:gd name="connsiteX9" fmla="*/ 5578373 w 10526578"/>
              <a:gd name="connsiteY9" fmla="*/ 1880008 h 3562503"/>
              <a:gd name="connsiteX10" fmla="*/ 6936891 w 10526578"/>
              <a:gd name="connsiteY10" fmla="*/ 1896903 h 3562503"/>
              <a:gd name="connsiteX11" fmla="*/ 7158458 w 10526578"/>
              <a:gd name="connsiteY11" fmla="*/ 2238451 h 3562503"/>
              <a:gd name="connsiteX12" fmla="*/ 7443751 w 10526578"/>
              <a:gd name="connsiteY12" fmla="*/ 1 h 3562503"/>
              <a:gd name="connsiteX13" fmla="*/ 7707098 w 10526578"/>
              <a:gd name="connsiteY13" fmla="*/ 3533242 h 3562503"/>
              <a:gd name="connsiteX14" fmla="*/ 8028966 w 10526578"/>
              <a:gd name="connsiteY14" fmla="*/ 1250900 h 3562503"/>
              <a:gd name="connsiteX15" fmla="*/ 8124064 w 10526578"/>
              <a:gd name="connsiteY15" fmla="*/ 1894637 h 3562503"/>
              <a:gd name="connsiteX16" fmla="*/ 10526578 w 10526578"/>
              <a:gd name="connsiteY16" fmla="*/ 1902496 h 3562503"/>
              <a:gd name="connsiteX0" fmla="*/ 0 w 10526578"/>
              <a:gd name="connsiteY0" fmla="*/ 1880549 h 3562503"/>
              <a:gd name="connsiteX1" fmla="*/ 2345056 w 10526578"/>
              <a:gd name="connsiteY1" fmla="*/ 1865377 h 3562503"/>
              <a:gd name="connsiteX2" fmla="*/ 2447469 w 10526578"/>
              <a:gd name="connsiteY2" fmla="*/ 1236270 h 3562503"/>
              <a:gd name="connsiteX3" fmla="*/ 2732761 w 10526578"/>
              <a:gd name="connsiteY3" fmla="*/ 3562503 h 3562503"/>
              <a:gd name="connsiteX4" fmla="*/ 3025369 w 10526578"/>
              <a:gd name="connsiteY4" fmla="*/ 14631 h 3562503"/>
              <a:gd name="connsiteX5" fmla="*/ 3303347 w 10526578"/>
              <a:gd name="connsiteY5" fmla="*/ 2238451 h 3562503"/>
              <a:gd name="connsiteX6" fmla="*/ 3476802 w 10526578"/>
              <a:gd name="connsiteY6" fmla="*/ 1874958 h 3562503"/>
              <a:gd name="connsiteX7" fmla="*/ 4895951 w 10526578"/>
              <a:gd name="connsiteY7" fmla="*/ 1889589 h 3562503"/>
              <a:gd name="connsiteX8" fmla="*/ 5578373 w 10526578"/>
              <a:gd name="connsiteY8" fmla="*/ 1880008 h 3562503"/>
              <a:gd name="connsiteX9" fmla="*/ 6936891 w 10526578"/>
              <a:gd name="connsiteY9" fmla="*/ 1896903 h 3562503"/>
              <a:gd name="connsiteX10" fmla="*/ 7158458 w 10526578"/>
              <a:gd name="connsiteY10" fmla="*/ 2238451 h 3562503"/>
              <a:gd name="connsiteX11" fmla="*/ 7443751 w 10526578"/>
              <a:gd name="connsiteY11" fmla="*/ 1 h 3562503"/>
              <a:gd name="connsiteX12" fmla="*/ 7707098 w 10526578"/>
              <a:gd name="connsiteY12" fmla="*/ 3533242 h 3562503"/>
              <a:gd name="connsiteX13" fmla="*/ 8028966 w 10526578"/>
              <a:gd name="connsiteY13" fmla="*/ 1250900 h 3562503"/>
              <a:gd name="connsiteX14" fmla="*/ 8124064 w 10526578"/>
              <a:gd name="connsiteY14" fmla="*/ 1894637 h 3562503"/>
              <a:gd name="connsiteX15" fmla="*/ 10526578 w 10526578"/>
              <a:gd name="connsiteY15" fmla="*/ 1902496 h 3562503"/>
              <a:gd name="connsiteX0" fmla="*/ 0 w 10526578"/>
              <a:gd name="connsiteY0" fmla="*/ 1880549 h 3562503"/>
              <a:gd name="connsiteX1" fmla="*/ 2345056 w 10526578"/>
              <a:gd name="connsiteY1" fmla="*/ 1865377 h 3562503"/>
              <a:gd name="connsiteX2" fmla="*/ 2447469 w 10526578"/>
              <a:gd name="connsiteY2" fmla="*/ 1236270 h 3562503"/>
              <a:gd name="connsiteX3" fmla="*/ 2732761 w 10526578"/>
              <a:gd name="connsiteY3" fmla="*/ 3562503 h 3562503"/>
              <a:gd name="connsiteX4" fmla="*/ 3025369 w 10526578"/>
              <a:gd name="connsiteY4" fmla="*/ 14631 h 3562503"/>
              <a:gd name="connsiteX5" fmla="*/ 3336542 w 10526578"/>
              <a:gd name="connsiteY5" fmla="*/ 3076606 h 3562503"/>
              <a:gd name="connsiteX6" fmla="*/ 3476802 w 10526578"/>
              <a:gd name="connsiteY6" fmla="*/ 1874958 h 3562503"/>
              <a:gd name="connsiteX7" fmla="*/ 4895951 w 10526578"/>
              <a:gd name="connsiteY7" fmla="*/ 1889589 h 3562503"/>
              <a:gd name="connsiteX8" fmla="*/ 5578373 w 10526578"/>
              <a:gd name="connsiteY8" fmla="*/ 1880008 h 3562503"/>
              <a:gd name="connsiteX9" fmla="*/ 6936891 w 10526578"/>
              <a:gd name="connsiteY9" fmla="*/ 1896903 h 3562503"/>
              <a:gd name="connsiteX10" fmla="*/ 7158458 w 10526578"/>
              <a:gd name="connsiteY10" fmla="*/ 2238451 h 3562503"/>
              <a:gd name="connsiteX11" fmla="*/ 7443751 w 10526578"/>
              <a:gd name="connsiteY11" fmla="*/ 1 h 3562503"/>
              <a:gd name="connsiteX12" fmla="*/ 7707098 w 10526578"/>
              <a:gd name="connsiteY12" fmla="*/ 3533242 h 3562503"/>
              <a:gd name="connsiteX13" fmla="*/ 8028966 w 10526578"/>
              <a:gd name="connsiteY13" fmla="*/ 1250900 h 3562503"/>
              <a:gd name="connsiteX14" fmla="*/ 8124064 w 10526578"/>
              <a:gd name="connsiteY14" fmla="*/ 1894637 h 3562503"/>
              <a:gd name="connsiteX15" fmla="*/ 10526578 w 10526578"/>
              <a:gd name="connsiteY15" fmla="*/ 1902496 h 3562503"/>
              <a:gd name="connsiteX0" fmla="*/ 0 w 10526578"/>
              <a:gd name="connsiteY0" fmla="*/ 1880549 h 3562503"/>
              <a:gd name="connsiteX1" fmla="*/ 2345056 w 10526578"/>
              <a:gd name="connsiteY1" fmla="*/ 1865377 h 3562503"/>
              <a:gd name="connsiteX2" fmla="*/ 2447469 w 10526578"/>
              <a:gd name="connsiteY2" fmla="*/ 1236270 h 3562503"/>
              <a:gd name="connsiteX3" fmla="*/ 2732761 w 10526578"/>
              <a:gd name="connsiteY3" fmla="*/ 3562503 h 3562503"/>
              <a:gd name="connsiteX4" fmla="*/ 3025369 w 10526578"/>
              <a:gd name="connsiteY4" fmla="*/ 14631 h 3562503"/>
              <a:gd name="connsiteX5" fmla="*/ 3336542 w 10526578"/>
              <a:gd name="connsiteY5" fmla="*/ 3076606 h 3562503"/>
              <a:gd name="connsiteX6" fmla="*/ 3476802 w 10526578"/>
              <a:gd name="connsiteY6" fmla="*/ 1874958 h 3562503"/>
              <a:gd name="connsiteX7" fmla="*/ 4895951 w 10526578"/>
              <a:gd name="connsiteY7" fmla="*/ 1889589 h 3562503"/>
              <a:gd name="connsiteX8" fmla="*/ 5578373 w 10526578"/>
              <a:gd name="connsiteY8" fmla="*/ 1880008 h 3562503"/>
              <a:gd name="connsiteX9" fmla="*/ 6936891 w 10526578"/>
              <a:gd name="connsiteY9" fmla="*/ 1896903 h 3562503"/>
              <a:gd name="connsiteX10" fmla="*/ 7224844 w 10526578"/>
              <a:gd name="connsiteY10" fmla="*/ 3305198 h 3562503"/>
              <a:gd name="connsiteX11" fmla="*/ 7443751 w 10526578"/>
              <a:gd name="connsiteY11" fmla="*/ 1 h 3562503"/>
              <a:gd name="connsiteX12" fmla="*/ 7707098 w 10526578"/>
              <a:gd name="connsiteY12" fmla="*/ 3533242 h 3562503"/>
              <a:gd name="connsiteX13" fmla="*/ 8028966 w 10526578"/>
              <a:gd name="connsiteY13" fmla="*/ 1250900 h 3562503"/>
              <a:gd name="connsiteX14" fmla="*/ 8124064 w 10526578"/>
              <a:gd name="connsiteY14" fmla="*/ 1894637 h 3562503"/>
              <a:gd name="connsiteX15" fmla="*/ 10526578 w 10526578"/>
              <a:gd name="connsiteY15" fmla="*/ 1902496 h 3562503"/>
              <a:gd name="connsiteX0" fmla="*/ 0 w 10526578"/>
              <a:gd name="connsiteY0" fmla="*/ 1880549 h 3562503"/>
              <a:gd name="connsiteX1" fmla="*/ 2345056 w 10526578"/>
              <a:gd name="connsiteY1" fmla="*/ 1865377 h 3562503"/>
              <a:gd name="connsiteX2" fmla="*/ 2447469 w 10526578"/>
              <a:gd name="connsiteY2" fmla="*/ 1236270 h 3562503"/>
              <a:gd name="connsiteX3" fmla="*/ 2732761 w 10526578"/>
              <a:gd name="connsiteY3" fmla="*/ 3562503 h 3562503"/>
              <a:gd name="connsiteX4" fmla="*/ 3025369 w 10526578"/>
              <a:gd name="connsiteY4" fmla="*/ 14631 h 3562503"/>
              <a:gd name="connsiteX5" fmla="*/ 3336542 w 10526578"/>
              <a:gd name="connsiteY5" fmla="*/ 3076606 h 3562503"/>
              <a:gd name="connsiteX6" fmla="*/ 3476802 w 10526578"/>
              <a:gd name="connsiteY6" fmla="*/ 1874958 h 3562503"/>
              <a:gd name="connsiteX7" fmla="*/ 4895951 w 10526578"/>
              <a:gd name="connsiteY7" fmla="*/ 1889589 h 3562503"/>
              <a:gd name="connsiteX8" fmla="*/ 5578373 w 10526578"/>
              <a:gd name="connsiteY8" fmla="*/ 1880008 h 3562503"/>
              <a:gd name="connsiteX9" fmla="*/ 6936891 w 10526578"/>
              <a:gd name="connsiteY9" fmla="*/ 1896903 h 3562503"/>
              <a:gd name="connsiteX10" fmla="*/ 7191650 w 10526578"/>
              <a:gd name="connsiteY10" fmla="*/ 2848025 h 3562503"/>
              <a:gd name="connsiteX11" fmla="*/ 7443751 w 10526578"/>
              <a:gd name="connsiteY11" fmla="*/ 1 h 3562503"/>
              <a:gd name="connsiteX12" fmla="*/ 7707098 w 10526578"/>
              <a:gd name="connsiteY12" fmla="*/ 3533242 h 3562503"/>
              <a:gd name="connsiteX13" fmla="*/ 8028966 w 10526578"/>
              <a:gd name="connsiteY13" fmla="*/ 1250900 h 3562503"/>
              <a:gd name="connsiteX14" fmla="*/ 8124064 w 10526578"/>
              <a:gd name="connsiteY14" fmla="*/ 1894637 h 3562503"/>
              <a:gd name="connsiteX15" fmla="*/ 10526578 w 10526578"/>
              <a:gd name="connsiteY15" fmla="*/ 1902496 h 3562503"/>
              <a:gd name="connsiteX0" fmla="*/ 0 w 12662007"/>
              <a:gd name="connsiteY0" fmla="*/ 1880551 h 3562503"/>
              <a:gd name="connsiteX1" fmla="*/ 4480485 w 12662007"/>
              <a:gd name="connsiteY1" fmla="*/ 1865377 h 3562503"/>
              <a:gd name="connsiteX2" fmla="*/ 4582898 w 12662007"/>
              <a:gd name="connsiteY2" fmla="*/ 1236270 h 3562503"/>
              <a:gd name="connsiteX3" fmla="*/ 4868190 w 12662007"/>
              <a:gd name="connsiteY3" fmla="*/ 3562503 h 3562503"/>
              <a:gd name="connsiteX4" fmla="*/ 5160798 w 12662007"/>
              <a:gd name="connsiteY4" fmla="*/ 14631 h 3562503"/>
              <a:gd name="connsiteX5" fmla="*/ 5471971 w 12662007"/>
              <a:gd name="connsiteY5" fmla="*/ 3076606 h 3562503"/>
              <a:gd name="connsiteX6" fmla="*/ 5612231 w 12662007"/>
              <a:gd name="connsiteY6" fmla="*/ 1874958 h 3562503"/>
              <a:gd name="connsiteX7" fmla="*/ 7031380 w 12662007"/>
              <a:gd name="connsiteY7" fmla="*/ 1889589 h 3562503"/>
              <a:gd name="connsiteX8" fmla="*/ 7713802 w 12662007"/>
              <a:gd name="connsiteY8" fmla="*/ 1880008 h 3562503"/>
              <a:gd name="connsiteX9" fmla="*/ 9072320 w 12662007"/>
              <a:gd name="connsiteY9" fmla="*/ 1896903 h 3562503"/>
              <a:gd name="connsiteX10" fmla="*/ 9327079 w 12662007"/>
              <a:gd name="connsiteY10" fmla="*/ 2848025 h 3562503"/>
              <a:gd name="connsiteX11" fmla="*/ 9579180 w 12662007"/>
              <a:gd name="connsiteY11" fmla="*/ 1 h 3562503"/>
              <a:gd name="connsiteX12" fmla="*/ 9842527 w 12662007"/>
              <a:gd name="connsiteY12" fmla="*/ 3533242 h 3562503"/>
              <a:gd name="connsiteX13" fmla="*/ 10164395 w 12662007"/>
              <a:gd name="connsiteY13" fmla="*/ 1250900 h 3562503"/>
              <a:gd name="connsiteX14" fmla="*/ 10259493 w 12662007"/>
              <a:gd name="connsiteY14" fmla="*/ 1894637 h 3562503"/>
              <a:gd name="connsiteX15" fmla="*/ 12662007 w 12662007"/>
              <a:gd name="connsiteY15" fmla="*/ 1902496 h 3562503"/>
              <a:gd name="connsiteX0" fmla="*/ 0 w 14808500"/>
              <a:gd name="connsiteY0" fmla="*/ 1880551 h 3562503"/>
              <a:gd name="connsiteX1" fmla="*/ 4480485 w 14808500"/>
              <a:gd name="connsiteY1" fmla="*/ 1865377 h 3562503"/>
              <a:gd name="connsiteX2" fmla="*/ 4582898 w 14808500"/>
              <a:gd name="connsiteY2" fmla="*/ 1236270 h 3562503"/>
              <a:gd name="connsiteX3" fmla="*/ 4868190 w 14808500"/>
              <a:gd name="connsiteY3" fmla="*/ 3562503 h 3562503"/>
              <a:gd name="connsiteX4" fmla="*/ 5160798 w 14808500"/>
              <a:gd name="connsiteY4" fmla="*/ 14631 h 3562503"/>
              <a:gd name="connsiteX5" fmla="*/ 5471971 w 14808500"/>
              <a:gd name="connsiteY5" fmla="*/ 3076606 h 3562503"/>
              <a:gd name="connsiteX6" fmla="*/ 5612231 w 14808500"/>
              <a:gd name="connsiteY6" fmla="*/ 1874958 h 3562503"/>
              <a:gd name="connsiteX7" fmla="*/ 7031380 w 14808500"/>
              <a:gd name="connsiteY7" fmla="*/ 1889589 h 3562503"/>
              <a:gd name="connsiteX8" fmla="*/ 7713802 w 14808500"/>
              <a:gd name="connsiteY8" fmla="*/ 1880008 h 3562503"/>
              <a:gd name="connsiteX9" fmla="*/ 9072320 w 14808500"/>
              <a:gd name="connsiteY9" fmla="*/ 1896903 h 3562503"/>
              <a:gd name="connsiteX10" fmla="*/ 9327079 w 14808500"/>
              <a:gd name="connsiteY10" fmla="*/ 2848025 h 3562503"/>
              <a:gd name="connsiteX11" fmla="*/ 9579180 w 14808500"/>
              <a:gd name="connsiteY11" fmla="*/ 1 h 3562503"/>
              <a:gd name="connsiteX12" fmla="*/ 9842527 w 14808500"/>
              <a:gd name="connsiteY12" fmla="*/ 3533242 h 3562503"/>
              <a:gd name="connsiteX13" fmla="*/ 10164395 w 14808500"/>
              <a:gd name="connsiteY13" fmla="*/ 1250900 h 3562503"/>
              <a:gd name="connsiteX14" fmla="*/ 10259493 w 14808500"/>
              <a:gd name="connsiteY14" fmla="*/ 1894637 h 3562503"/>
              <a:gd name="connsiteX15" fmla="*/ 14808500 w 14808500"/>
              <a:gd name="connsiteY15" fmla="*/ 1940591 h 3562503"/>
              <a:gd name="connsiteX0" fmla="*/ 0 w 18482842"/>
              <a:gd name="connsiteY0" fmla="*/ 1904392 h 3562502"/>
              <a:gd name="connsiteX1" fmla="*/ 8154827 w 18482842"/>
              <a:gd name="connsiteY1" fmla="*/ 1865376 h 3562502"/>
              <a:gd name="connsiteX2" fmla="*/ 8257240 w 18482842"/>
              <a:gd name="connsiteY2" fmla="*/ 1236269 h 3562502"/>
              <a:gd name="connsiteX3" fmla="*/ 8542532 w 18482842"/>
              <a:gd name="connsiteY3" fmla="*/ 3562502 h 3562502"/>
              <a:gd name="connsiteX4" fmla="*/ 8835140 w 18482842"/>
              <a:gd name="connsiteY4" fmla="*/ 14630 h 3562502"/>
              <a:gd name="connsiteX5" fmla="*/ 9146313 w 18482842"/>
              <a:gd name="connsiteY5" fmla="*/ 3076605 h 3562502"/>
              <a:gd name="connsiteX6" fmla="*/ 9286573 w 18482842"/>
              <a:gd name="connsiteY6" fmla="*/ 1874957 h 3562502"/>
              <a:gd name="connsiteX7" fmla="*/ 10705722 w 18482842"/>
              <a:gd name="connsiteY7" fmla="*/ 1889588 h 3562502"/>
              <a:gd name="connsiteX8" fmla="*/ 11388144 w 18482842"/>
              <a:gd name="connsiteY8" fmla="*/ 1880007 h 3562502"/>
              <a:gd name="connsiteX9" fmla="*/ 12746662 w 18482842"/>
              <a:gd name="connsiteY9" fmla="*/ 1896902 h 3562502"/>
              <a:gd name="connsiteX10" fmla="*/ 13001421 w 18482842"/>
              <a:gd name="connsiteY10" fmla="*/ 2848024 h 3562502"/>
              <a:gd name="connsiteX11" fmla="*/ 13253522 w 18482842"/>
              <a:gd name="connsiteY11" fmla="*/ 0 h 3562502"/>
              <a:gd name="connsiteX12" fmla="*/ 13516869 w 18482842"/>
              <a:gd name="connsiteY12" fmla="*/ 3533241 h 3562502"/>
              <a:gd name="connsiteX13" fmla="*/ 13838737 w 18482842"/>
              <a:gd name="connsiteY13" fmla="*/ 1250899 h 3562502"/>
              <a:gd name="connsiteX14" fmla="*/ 13933835 w 18482842"/>
              <a:gd name="connsiteY14" fmla="*/ 1894636 h 3562502"/>
              <a:gd name="connsiteX15" fmla="*/ 18482842 w 18482842"/>
              <a:gd name="connsiteY15" fmla="*/ 1940590 h 3562502"/>
              <a:gd name="connsiteX0" fmla="*/ 0 w 14744037"/>
              <a:gd name="connsiteY0" fmla="*/ 1904392 h 3562502"/>
              <a:gd name="connsiteX1" fmla="*/ 8154827 w 14744037"/>
              <a:gd name="connsiteY1" fmla="*/ 1865376 h 3562502"/>
              <a:gd name="connsiteX2" fmla="*/ 8257240 w 14744037"/>
              <a:gd name="connsiteY2" fmla="*/ 1236269 h 3562502"/>
              <a:gd name="connsiteX3" fmla="*/ 8542532 w 14744037"/>
              <a:gd name="connsiteY3" fmla="*/ 3562502 h 3562502"/>
              <a:gd name="connsiteX4" fmla="*/ 8835140 w 14744037"/>
              <a:gd name="connsiteY4" fmla="*/ 14630 h 3562502"/>
              <a:gd name="connsiteX5" fmla="*/ 9146313 w 14744037"/>
              <a:gd name="connsiteY5" fmla="*/ 3076605 h 3562502"/>
              <a:gd name="connsiteX6" fmla="*/ 9286573 w 14744037"/>
              <a:gd name="connsiteY6" fmla="*/ 1874957 h 3562502"/>
              <a:gd name="connsiteX7" fmla="*/ 10705722 w 14744037"/>
              <a:gd name="connsiteY7" fmla="*/ 1889588 h 3562502"/>
              <a:gd name="connsiteX8" fmla="*/ 11388144 w 14744037"/>
              <a:gd name="connsiteY8" fmla="*/ 1880007 h 3562502"/>
              <a:gd name="connsiteX9" fmla="*/ 12746662 w 14744037"/>
              <a:gd name="connsiteY9" fmla="*/ 1896902 h 3562502"/>
              <a:gd name="connsiteX10" fmla="*/ 13001421 w 14744037"/>
              <a:gd name="connsiteY10" fmla="*/ 2848024 h 3562502"/>
              <a:gd name="connsiteX11" fmla="*/ 13253522 w 14744037"/>
              <a:gd name="connsiteY11" fmla="*/ 0 h 3562502"/>
              <a:gd name="connsiteX12" fmla="*/ 13516869 w 14744037"/>
              <a:gd name="connsiteY12" fmla="*/ 3533241 h 3562502"/>
              <a:gd name="connsiteX13" fmla="*/ 13838737 w 14744037"/>
              <a:gd name="connsiteY13" fmla="*/ 1250899 h 3562502"/>
              <a:gd name="connsiteX14" fmla="*/ 13933835 w 14744037"/>
              <a:gd name="connsiteY14" fmla="*/ 1894636 h 3562502"/>
              <a:gd name="connsiteX15" fmla="*/ 14744037 w 14744037"/>
              <a:gd name="connsiteY15" fmla="*/ 1892908 h 3562502"/>
              <a:gd name="connsiteX0" fmla="*/ 0 w 14782714"/>
              <a:gd name="connsiteY0" fmla="*/ 1904392 h 3562502"/>
              <a:gd name="connsiteX1" fmla="*/ 8154827 w 14782714"/>
              <a:gd name="connsiteY1" fmla="*/ 1865376 h 3562502"/>
              <a:gd name="connsiteX2" fmla="*/ 8257240 w 14782714"/>
              <a:gd name="connsiteY2" fmla="*/ 1236269 h 3562502"/>
              <a:gd name="connsiteX3" fmla="*/ 8542532 w 14782714"/>
              <a:gd name="connsiteY3" fmla="*/ 3562502 h 3562502"/>
              <a:gd name="connsiteX4" fmla="*/ 8835140 w 14782714"/>
              <a:gd name="connsiteY4" fmla="*/ 14630 h 3562502"/>
              <a:gd name="connsiteX5" fmla="*/ 9146313 w 14782714"/>
              <a:gd name="connsiteY5" fmla="*/ 3076605 h 3562502"/>
              <a:gd name="connsiteX6" fmla="*/ 9286573 w 14782714"/>
              <a:gd name="connsiteY6" fmla="*/ 1874957 h 3562502"/>
              <a:gd name="connsiteX7" fmla="*/ 10705722 w 14782714"/>
              <a:gd name="connsiteY7" fmla="*/ 1889588 h 3562502"/>
              <a:gd name="connsiteX8" fmla="*/ 11388144 w 14782714"/>
              <a:gd name="connsiteY8" fmla="*/ 1880007 h 3562502"/>
              <a:gd name="connsiteX9" fmla="*/ 12746662 w 14782714"/>
              <a:gd name="connsiteY9" fmla="*/ 1896902 h 3562502"/>
              <a:gd name="connsiteX10" fmla="*/ 13001421 w 14782714"/>
              <a:gd name="connsiteY10" fmla="*/ 2848024 h 3562502"/>
              <a:gd name="connsiteX11" fmla="*/ 13253522 w 14782714"/>
              <a:gd name="connsiteY11" fmla="*/ 0 h 3562502"/>
              <a:gd name="connsiteX12" fmla="*/ 13516869 w 14782714"/>
              <a:gd name="connsiteY12" fmla="*/ 3533241 h 3562502"/>
              <a:gd name="connsiteX13" fmla="*/ 13838737 w 14782714"/>
              <a:gd name="connsiteY13" fmla="*/ 1250899 h 3562502"/>
              <a:gd name="connsiteX14" fmla="*/ 13933835 w 14782714"/>
              <a:gd name="connsiteY14" fmla="*/ 1894636 h 3562502"/>
              <a:gd name="connsiteX15" fmla="*/ 14782714 w 14782714"/>
              <a:gd name="connsiteY15" fmla="*/ 1904828 h 3562502"/>
              <a:gd name="connsiteX0" fmla="*/ 0 w 14821391"/>
              <a:gd name="connsiteY0" fmla="*/ 1904392 h 3562502"/>
              <a:gd name="connsiteX1" fmla="*/ 8154827 w 14821391"/>
              <a:gd name="connsiteY1" fmla="*/ 1865376 h 3562502"/>
              <a:gd name="connsiteX2" fmla="*/ 8257240 w 14821391"/>
              <a:gd name="connsiteY2" fmla="*/ 1236269 h 3562502"/>
              <a:gd name="connsiteX3" fmla="*/ 8542532 w 14821391"/>
              <a:gd name="connsiteY3" fmla="*/ 3562502 h 3562502"/>
              <a:gd name="connsiteX4" fmla="*/ 8835140 w 14821391"/>
              <a:gd name="connsiteY4" fmla="*/ 14630 h 3562502"/>
              <a:gd name="connsiteX5" fmla="*/ 9146313 w 14821391"/>
              <a:gd name="connsiteY5" fmla="*/ 3076605 h 3562502"/>
              <a:gd name="connsiteX6" fmla="*/ 9286573 w 14821391"/>
              <a:gd name="connsiteY6" fmla="*/ 1874957 h 3562502"/>
              <a:gd name="connsiteX7" fmla="*/ 10705722 w 14821391"/>
              <a:gd name="connsiteY7" fmla="*/ 1889588 h 3562502"/>
              <a:gd name="connsiteX8" fmla="*/ 11388144 w 14821391"/>
              <a:gd name="connsiteY8" fmla="*/ 1880007 h 3562502"/>
              <a:gd name="connsiteX9" fmla="*/ 12746662 w 14821391"/>
              <a:gd name="connsiteY9" fmla="*/ 1896902 h 3562502"/>
              <a:gd name="connsiteX10" fmla="*/ 13001421 w 14821391"/>
              <a:gd name="connsiteY10" fmla="*/ 2848024 h 3562502"/>
              <a:gd name="connsiteX11" fmla="*/ 13253522 w 14821391"/>
              <a:gd name="connsiteY11" fmla="*/ 0 h 3562502"/>
              <a:gd name="connsiteX12" fmla="*/ 13516869 w 14821391"/>
              <a:gd name="connsiteY12" fmla="*/ 3533241 h 3562502"/>
              <a:gd name="connsiteX13" fmla="*/ 13838737 w 14821391"/>
              <a:gd name="connsiteY13" fmla="*/ 1250899 h 3562502"/>
              <a:gd name="connsiteX14" fmla="*/ 13933835 w 14821391"/>
              <a:gd name="connsiteY14" fmla="*/ 1894636 h 3562502"/>
              <a:gd name="connsiteX15" fmla="*/ 14821391 w 14821391"/>
              <a:gd name="connsiteY15" fmla="*/ 1916748 h 3562502"/>
              <a:gd name="connsiteX0" fmla="*/ 0 w 17332784"/>
              <a:gd name="connsiteY0" fmla="*/ 1904392 h 3562502"/>
              <a:gd name="connsiteX1" fmla="*/ 8154827 w 17332784"/>
              <a:gd name="connsiteY1" fmla="*/ 1865376 h 3562502"/>
              <a:gd name="connsiteX2" fmla="*/ 8257240 w 17332784"/>
              <a:gd name="connsiteY2" fmla="*/ 1236269 h 3562502"/>
              <a:gd name="connsiteX3" fmla="*/ 8542532 w 17332784"/>
              <a:gd name="connsiteY3" fmla="*/ 3562502 h 3562502"/>
              <a:gd name="connsiteX4" fmla="*/ 8835140 w 17332784"/>
              <a:gd name="connsiteY4" fmla="*/ 14630 h 3562502"/>
              <a:gd name="connsiteX5" fmla="*/ 9146313 w 17332784"/>
              <a:gd name="connsiteY5" fmla="*/ 3076605 h 3562502"/>
              <a:gd name="connsiteX6" fmla="*/ 9286573 w 17332784"/>
              <a:gd name="connsiteY6" fmla="*/ 1874957 h 3562502"/>
              <a:gd name="connsiteX7" fmla="*/ 10705722 w 17332784"/>
              <a:gd name="connsiteY7" fmla="*/ 1889588 h 3562502"/>
              <a:gd name="connsiteX8" fmla="*/ 11388144 w 17332784"/>
              <a:gd name="connsiteY8" fmla="*/ 1880007 h 3562502"/>
              <a:gd name="connsiteX9" fmla="*/ 12746662 w 17332784"/>
              <a:gd name="connsiteY9" fmla="*/ 1896902 h 3562502"/>
              <a:gd name="connsiteX10" fmla="*/ 13001421 w 17332784"/>
              <a:gd name="connsiteY10" fmla="*/ 2848024 h 3562502"/>
              <a:gd name="connsiteX11" fmla="*/ 13253522 w 17332784"/>
              <a:gd name="connsiteY11" fmla="*/ 0 h 3562502"/>
              <a:gd name="connsiteX12" fmla="*/ 13516869 w 17332784"/>
              <a:gd name="connsiteY12" fmla="*/ 3533241 h 3562502"/>
              <a:gd name="connsiteX13" fmla="*/ 13838737 w 17332784"/>
              <a:gd name="connsiteY13" fmla="*/ 1250899 h 3562502"/>
              <a:gd name="connsiteX14" fmla="*/ 13933835 w 17332784"/>
              <a:gd name="connsiteY14" fmla="*/ 1894636 h 3562502"/>
              <a:gd name="connsiteX15" fmla="*/ 17332784 w 17332784"/>
              <a:gd name="connsiteY15" fmla="*/ 1860793 h 3562502"/>
              <a:gd name="connsiteX0" fmla="*/ 0 w 17255964"/>
              <a:gd name="connsiteY0" fmla="*/ 1904392 h 3562502"/>
              <a:gd name="connsiteX1" fmla="*/ 8154827 w 17255964"/>
              <a:gd name="connsiteY1" fmla="*/ 1865376 h 3562502"/>
              <a:gd name="connsiteX2" fmla="*/ 8257240 w 17255964"/>
              <a:gd name="connsiteY2" fmla="*/ 1236269 h 3562502"/>
              <a:gd name="connsiteX3" fmla="*/ 8542532 w 17255964"/>
              <a:gd name="connsiteY3" fmla="*/ 3562502 h 3562502"/>
              <a:gd name="connsiteX4" fmla="*/ 8835140 w 17255964"/>
              <a:gd name="connsiteY4" fmla="*/ 14630 h 3562502"/>
              <a:gd name="connsiteX5" fmla="*/ 9146313 w 17255964"/>
              <a:gd name="connsiteY5" fmla="*/ 3076605 h 3562502"/>
              <a:gd name="connsiteX6" fmla="*/ 9286573 w 17255964"/>
              <a:gd name="connsiteY6" fmla="*/ 1874957 h 3562502"/>
              <a:gd name="connsiteX7" fmla="*/ 10705722 w 17255964"/>
              <a:gd name="connsiteY7" fmla="*/ 1889588 h 3562502"/>
              <a:gd name="connsiteX8" fmla="*/ 11388144 w 17255964"/>
              <a:gd name="connsiteY8" fmla="*/ 1880007 h 3562502"/>
              <a:gd name="connsiteX9" fmla="*/ 12746662 w 17255964"/>
              <a:gd name="connsiteY9" fmla="*/ 1896902 h 3562502"/>
              <a:gd name="connsiteX10" fmla="*/ 13001421 w 17255964"/>
              <a:gd name="connsiteY10" fmla="*/ 2848024 h 3562502"/>
              <a:gd name="connsiteX11" fmla="*/ 13253522 w 17255964"/>
              <a:gd name="connsiteY11" fmla="*/ 0 h 3562502"/>
              <a:gd name="connsiteX12" fmla="*/ 13516869 w 17255964"/>
              <a:gd name="connsiteY12" fmla="*/ 3533241 h 3562502"/>
              <a:gd name="connsiteX13" fmla="*/ 13838737 w 17255964"/>
              <a:gd name="connsiteY13" fmla="*/ 1250899 h 3562502"/>
              <a:gd name="connsiteX14" fmla="*/ 13933835 w 17255964"/>
              <a:gd name="connsiteY14" fmla="*/ 1894636 h 3562502"/>
              <a:gd name="connsiteX15" fmla="*/ 17255964 w 17255964"/>
              <a:gd name="connsiteY15" fmla="*/ 1867897 h 3562502"/>
              <a:gd name="connsiteX0" fmla="*/ 0 w 17279011"/>
              <a:gd name="connsiteY0" fmla="*/ 1904392 h 3562502"/>
              <a:gd name="connsiteX1" fmla="*/ 8154827 w 17279011"/>
              <a:gd name="connsiteY1" fmla="*/ 1865376 h 3562502"/>
              <a:gd name="connsiteX2" fmla="*/ 8257240 w 17279011"/>
              <a:gd name="connsiteY2" fmla="*/ 1236269 h 3562502"/>
              <a:gd name="connsiteX3" fmla="*/ 8542532 w 17279011"/>
              <a:gd name="connsiteY3" fmla="*/ 3562502 h 3562502"/>
              <a:gd name="connsiteX4" fmla="*/ 8835140 w 17279011"/>
              <a:gd name="connsiteY4" fmla="*/ 14630 h 3562502"/>
              <a:gd name="connsiteX5" fmla="*/ 9146313 w 17279011"/>
              <a:gd name="connsiteY5" fmla="*/ 3076605 h 3562502"/>
              <a:gd name="connsiteX6" fmla="*/ 9286573 w 17279011"/>
              <a:gd name="connsiteY6" fmla="*/ 1874957 h 3562502"/>
              <a:gd name="connsiteX7" fmla="*/ 10705722 w 17279011"/>
              <a:gd name="connsiteY7" fmla="*/ 1889588 h 3562502"/>
              <a:gd name="connsiteX8" fmla="*/ 11388144 w 17279011"/>
              <a:gd name="connsiteY8" fmla="*/ 1880007 h 3562502"/>
              <a:gd name="connsiteX9" fmla="*/ 12746662 w 17279011"/>
              <a:gd name="connsiteY9" fmla="*/ 1896902 h 3562502"/>
              <a:gd name="connsiteX10" fmla="*/ 13001421 w 17279011"/>
              <a:gd name="connsiteY10" fmla="*/ 2848024 h 3562502"/>
              <a:gd name="connsiteX11" fmla="*/ 13253522 w 17279011"/>
              <a:gd name="connsiteY11" fmla="*/ 0 h 3562502"/>
              <a:gd name="connsiteX12" fmla="*/ 13516869 w 17279011"/>
              <a:gd name="connsiteY12" fmla="*/ 3533241 h 3562502"/>
              <a:gd name="connsiteX13" fmla="*/ 13838737 w 17279011"/>
              <a:gd name="connsiteY13" fmla="*/ 1250899 h 3562502"/>
              <a:gd name="connsiteX14" fmla="*/ 13933835 w 17279011"/>
              <a:gd name="connsiteY14" fmla="*/ 1894636 h 3562502"/>
              <a:gd name="connsiteX15" fmla="*/ 17279011 w 17279011"/>
              <a:gd name="connsiteY15" fmla="*/ 1867897 h 3562502"/>
              <a:gd name="connsiteX0" fmla="*/ 0 w 17279011"/>
              <a:gd name="connsiteY0" fmla="*/ 1904392 h 3562502"/>
              <a:gd name="connsiteX1" fmla="*/ 8154827 w 17279011"/>
              <a:gd name="connsiteY1" fmla="*/ 1865376 h 3562502"/>
              <a:gd name="connsiteX2" fmla="*/ 8257240 w 17279011"/>
              <a:gd name="connsiteY2" fmla="*/ 1236269 h 3562502"/>
              <a:gd name="connsiteX3" fmla="*/ 8542532 w 17279011"/>
              <a:gd name="connsiteY3" fmla="*/ 3562502 h 3562502"/>
              <a:gd name="connsiteX4" fmla="*/ 8835140 w 17279011"/>
              <a:gd name="connsiteY4" fmla="*/ 14630 h 3562502"/>
              <a:gd name="connsiteX5" fmla="*/ 9146313 w 17279011"/>
              <a:gd name="connsiteY5" fmla="*/ 3076605 h 3562502"/>
              <a:gd name="connsiteX6" fmla="*/ 9286573 w 17279011"/>
              <a:gd name="connsiteY6" fmla="*/ 1874957 h 3562502"/>
              <a:gd name="connsiteX7" fmla="*/ 10705722 w 17279011"/>
              <a:gd name="connsiteY7" fmla="*/ 1889588 h 3562502"/>
              <a:gd name="connsiteX8" fmla="*/ 11388144 w 17279011"/>
              <a:gd name="connsiteY8" fmla="*/ 1880007 h 3562502"/>
              <a:gd name="connsiteX9" fmla="*/ 12746662 w 17279011"/>
              <a:gd name="connsiteY9" fmla="*/ 1896902 h 3562502"/>
              <a:gd name="connsiteX10" fmla="*/ 13001421 w 17279011"/>
              <a:gd name="connsiteY10" fmla="*/ 2848024 h 3562502"/>
              <a:gd name="connsiteX11" fmla="*/ 13253522 w 17279011"/>
              <a:gd name="connsiteY11" fmla="*/ 0 h 3562502"/>
              <a:gd name="connsiteX12" fmla="*/ 13516869 w 17279011"/>
              <a:gd name="connsiteY12" fmla="*/ 3533241 h 3562502"/>
              <a:gd name="connsiteX13" fmla="*/ 13838737 w 17279011"/>
              <a:gd name="connsiteY13" fmla="*/ 1250899 h 3562502"/>
              <a:gd name="connsiteX14" fmla="*/ 13933836 w 17279011"/>
              <a:gd name="connsiteY14" fmla="*/ 1873328 h 3562502"/>
              <a:gd name="connsiteX15" fmla="*/ 17279011 w 17279011"/>
              <a:gd name="connsiteY15" fmla="*/ 1867897 h 3562502"/>
              <a:gd name="connsiteX0" fmla="*/ 0 w 17279011"/>
              <a:gd name="connsiteY0" fmla="*/ 1904392 h 3562502"/>
              <a:gd name="connsiteX1" fmla="*/ 8154827 w 17279011"/>
              <a:gd name="connsiteY1" fmla="*/ 1865376 h 3562502"/>
              <a:gd name="connsiteX2" fmla="*/ 8257240 w 17279011"/>
              <a:gd name="connsiteY2" fmla="*/ 1236269 h 3562502"/>
              <a:gd name="connsiteX3" fmla="*/ 8542532 w 17279011"/>
              <a:gd name="connsiteY3" fmla="*/ 3562502 h 3562502"/>
              <a:gd name="connsiteX4" fmla="*/ 8835140 w 17279011"/>
              <a:gd name="connsiteY4" fmla="*/ 14630 h 3562502"/>
              <a:gd name="connsiteX5" fmla="*/ 9146313 w 17279011"/>
              <a:gd name="connsiteY5" fmla="*/ 3076605 h 3562502"/>
              <a:gd name="connsiteX6" fmla="*/ 9286573 w 17279011"/>
              <a:gd name="connsiteY6" fmla="*/ 1874957 h 3562502"/>
              <a:gd name="connsiteX7" fmla="*/ 10705722 w 17279011"/>
              <a:gd name="connsiteY7" fmla="*/ 1889588 h 3562502"/>
              <a:gd name="connsiteX8" fmla="*/ 11388144 w 17279011"/>
              <a:gd name="connsiteY8" fmla="*/ 1880007 h 3562502"/>
              <a:gd name="connsiteX9" fmla="*/ 12746662 w 17279011"/>
              <a:gd name="connsiteY9" fmla="*/ 1882695 h 3562502"/>
              <a:gd name="connsiteX10" fmla="*/ 13001421 w 17279011"/>
              <a:gd name="connsiteY10" fmla="*/ 2848024 h 3562502"/>
              <a:gd name="connsiteX11" fmla="*/ 13253522 w 17279011"/>
              <a:gd name="connsiteY11" fmla="*/ 0 h 3562502"/>
              <a:gd name="connsiteX12" fmla="*/ 13516869 w 17279011"/>
              <a:gd name="connsiteY12" fmla="*/ 3533241 h 3562502"/>
              <a:gd name="connsiteX13" fmla="*/ 13838737 w 17279011"/>
              <a:gd name="connsiteY13" fmla="*/ 1250899 h 3562502"/>
              <a:gd name="connsiteX14" fmla="*/ 13933836 w 17279011"/>
              <a:gd name="connsiteY14" fmla="*/ 1873328 h 3562502"/>
              <a:gd name="connsiteX15" fmla="*/ 17279011 w 17279011"/>
              <a:gd name="connsiteY15" fmla="*/ 1867897 h 3562502"/>
              <a:gd name="connsiteX0" fmla="*/ 0 w 17279011"/>
              <a:gd name="connsiteY0" fmla="*/ 1904392 h 3562502"/>
              <a:gd name="connsiteX1" fmla="*/ 8154827 w 17279011"/>
              <a:gd name="connsiteY1" fmla="*/ 1865376 h 3562502"/>
              <a:gd name="connsiteX2" fmla="*/ 8257240 w 17279011"/>
              <a:gd name="connsiteY2" fmla="*/ 1236269 h 3562502"/>
              <a:gd name="connsiteX3" fmla="*/ 8542532 w 17279011"/>
              <a:gd name="connsiteY3" fmla="*/ 3562502 h 3562502"/>
              <a:gd name="connsiteX4" fmla="*/ 8835140 w 17279011"/>
              <a:gd name="connsiteY4" fmla="*/ 14630 h 3562502"/>
              <a:gd name="connsiteX5" fmla="*/ 9146313 w 17279011"/>
              <a:gd name="connsiteY5" fmla="*/ 3076605 h 3562502"/>
              <a:gd name="connsiteX6" fmla="*/ 9286573 w 17279011"/>
              <a:gd name="connsiteY6" fmla="*/ 1867853 h 3562502"/>
              <a:gd name="connsiteX7" fmla="*/ 10705722 w 17279011"/>
              <a:gd name="connsiteY7" fmla="*/ 1889588 h 3562502"/>
              <a:gd name="connsiteX8" fmla="*/ 11388144 w 17279011"/>
              <a:gd name="connsiteY8" fmla="*/ 1880007 h 3562502"/>
              <a:gd name="connsiteX9" fmla="*/ 12746662 w 17279011"/>
              <a:gd name="connsiteY9" fmla="*/ 1882695 h 3562502"/>
              <a:gd name="connsiteX10" fmla="*/ 13001421 w 17279011"/>
              <a:gd name="connsiteY10" fmla="*/ 2848024 h 3562502"/>
              <a:gd name="connsiteX11" fmla="*/ 13253522 w 17279011"/>
              <a:gd name="connsiteY11" fmla="*/ 0 h 3562502"/>
              <a:gd name="connsiteX12" fmla="*/ 13516869 w 17279011"/>
              <a:gd name="connsiteY12" fmla="*/ 3533241 h 3562502"/>
              <a:gd name="connsiteX13" fmla="*/ 13838737 w 17279011"/>
              <a:gd name="connsiteY13" fmla="*/ 1250899 h 3562502"/>
              <a:gd name="connsiteX14" fmla="*/ 13933836 w 17279011"/>
              <a:gd name="connsiteY14" fmla="*/ 1873328 h 3562502"/>
              <a:gd name="connsiteX15" fmla="*/ 17279011 w 17279011"/>
              <a:gd name="connsiteY15" fmla="*/ 1867897 h 3562502"/>
              <a:gd name="connsiteX0" fmla="*/ 0 w 17279011"/>
              <a:gd name="connsiteY0" fmla="*/ 1904392 h 3562502"/>
              <a:gd name="connsiteX1" fmla="*/ 8154827 w 17279011"/>
              <a:gd name="connsiteY1" fmla="*/ 1865376 h 3562502"/>
              <a:gd name="connsiteX2" fmla="*/ 8257240 w 17279011"/>
              <a:gd name="connsiteY2" fmla="*/ 1236269 h 3562502"/>
              <a:gd name="connsiteX3" fmla="*/ 8542532 w 17279011"/>
              <a:gd name="connsiteY3" fmla="*/ 3562502 h 3562502"/>
              <a:gd name="connsiteX4" fmla="*/ 8835140 w 17279011"/>
              <a:gd name="connsiteY4" fmla="*/ 14630 h 3562502"/>
              <a:gd name="connsiteX5" fmla="*/ 9146313 w 17279011"/>
              <a:gd name="connsiteY5" fmla="*/ 3076605 h 3562502"/>
              <a:gd name="connsiteX6" fmla="*/ 9286573 w 17279011"/>
              <a:gd name="connsiteY6" fmla="*/ 1867853 h 3562502"/>
              <a:gd name="connsiteX7" fmla="*/ 10705722 w 17279011"/>
              <a:gd name="connsiteY7" fmla="*/ 1889588 h 3562502"/>
              <a:gd name="connsiteX8" fmla="*/ 12746662 w 17279011"/>
              <a:gd name="connsiteY8" fmla="*/ 1882695 h 3562502"/>
              <a:gd name="connsiteX9" fmla="*/ 13001421 w 17279011"/>
              <a:gd name="connsiteY9" fmla="*/ 2848024 h 3562502"/>
              <a:gd name="connsiteX10" fmla="*/ 13253522 w 17279011"/>
              <a:gd name="connsiteY10" fmla="*/ 0 h 3562502"/>
              <a:gd name="connsiteX11" fmla="*/ 13516869 w 17279011"/>
              <a:gd name="connsiteY11" fmla="*/ 3533241 h 3562502"/>
              <a:gd name="connsiteX12" fmla="*/ 13838737 w 17279011"/>
              <a:gd name="connsiteY12" fmla="*/ 1250899 h 3562502"/>
              <a:gd name="connsiteX13" fmla="*/ 13933836 w 17279011"/>
              <a:gd name="connsiteY13" fmla="*/ 1873328 h 3562502"/>
              <a:gd name="connsiteX14" fmla="*/ 17279011 w 17279011"/>
              <a:gd name="connsiteY14" fmla="*/ 1867897 h 3562502"/>
              <a:gd name="connsiteX0" fmla="*/ 0 w 17279011"/>
              <a:gd name="connsiteY0" fmla="*/ 1904392 h 3562502"/>
              <a:gd name="connsiteX1" fmla="*/ 8154827 w 17279011"/>
              <a:gd name="connsiteY1" fmla="*/ 1865376 h 3562502"/>
              <a:gd name="connsiteX2" fmla="*/ 8257240 w 17279011"/>
              <a:gd name="connsiteY2" fmla="*/ 1236269 h 3562502"/>
              <a:gd name="connsiteX3" fmla="*/ 8542532 w 17279011"/>
              <a:gd name="connsiteY3" fmla="*/ 3562502 h 3562502"/>
              <a:gd name="connsiteX4" fmla="*/ 8835140 w 17279011"/>
              <a:gd name="connsiteY4" fmla="*/ 14630 h 3562502"/>
              <a:gd name="connsiteX5" fmla="*/ 9146313 w 17279011"/>
              <a:gd name="connsiteY5" fmla="*/ 3076605 h 3562502"/>
              <a:gd name="connsiteX6" fmla="*/ 9286573 w 17279011"/>
              <a:gd name="connsiteY6" fmla="*/ 1867853 h 3562502"/>
              <a:gd name="connsiteX7" fmla="*/ 12746662 w 17279011"/>
              <a:gd name="connsiteY7" fmla="*/ 1882695 h 3562502"/>
              <a:gd name="connsiteX8" fmla="*/ 13001421 w 17279011"/>
              <a:gd name="connsiteY8" fmla="*/ 2848024 h 3562502"/>
              <a:gd name="connsiteX9" fmla="*/ 13253522 w 17279011"/>
              <a:gd name="connsiteY9" fmla="*/ 0 h 3562502"/>
              <a:gd name="connsiteX10" fmla="*/ 13516869 w 17279011"/>
              <a:gd name="connsiteY10" fmla="*/ 3533241 h 3562502"/>
              <a:gd name="connsiteX11" fmla="*/ 13838737 w 17279011"/>
              <a:gd name="connsiteY11" fmla="*/ 1250899 h 3562502"/>
              <a:gd name="connsiteX12" fmla="*/ 13933836 w 17279011"/>
              <a:gd name="connsiteY12" fmla="*/ 1873328 h 3562502"/>
              <a:gd name="connsiteX13" fmla="*/ 17279011 w 17279011"/>
              <a:gd name="connsiteY13" fmla="*/ 1867897 h 3562502"/>
              <a:gd name="connsiteX0" fmla="*/ 0 w 17279011"/>
              <a:gd name="connsiteY0" fmla="*/ 1904392 h 3562502"/>
              <a:gd name="connsiteX1" fmla="*/ 8154827 w 17279011"/>
              <a:gd name="connsiteY1" fmla="*/ 1865376 h 3562502"/>
              <a:gd name="connsiteX2" fmla="*/ 8257240 w 17279011"/>
              <a:gd name="connsiteY2" fmla="*/ 1236269 h 3562502"/>
              <a:gd name="connsiteX3" fmla="*/ 8542532 w 17279011"/>
              <a:gd name="connsiteY3" fmla="*/ 3562502 h 3562502"/>
              <a:gd name="connsiteX4" fmla="*/ 8835140 w 17279011"/>
              <a:gd name="connsiteY4" fmla="*/ 14630 h 3562502"/>
              <a:gd name="connsiteX5" fmla="*/ 9146313 w 17279011"/>
              <a:gd name="connsiteY5" fmla="*/ 3076605 h 3562502"/>
              <a:gd name="connsiteX6" fmla="*/ 9286573 w 17279011"/>
              <a:gd name="connsiteY6" fmla="*/ 1867853 h 3562502"/>
              <a:gd name="connsiteX7" fmla="*/ 12746662 w 17279011"/>
              <a:gd name="connsiteY7" fmla="*/ 1868490 h 3562502"/>
              <a:gd name="connsiteX8" fmla="*/ 13001421 w 17279011"/>
              <a:gd name="connsiteY8" fmla="*/ 2848024 h 3562502"/>
              <a:gd name="connsiteX9" fmla="*/ 13253522 w 17279011"/>
              <a:gd name="connsiteY9" fmla="*/ 0 h 3562502"/>
              <a:gd name="connsiteX10" fmla="*/ 13516869 w 17279011"/>
              <a:gd name="connsiteY10" fmla="*/ 3533241 h 3562502"/>
              <a:gd name="connsiteX11" fmla="*/ 13838737 w 17279011"/>
              <a:gd name="connsiteY11" fmla="*/ 1250899 h 3562502"/>
              <a:gd name="connsiteX12" fmla="*/ 13933836 w 17279011"/>
              <a:gd name="connsiteY12" fmla="*/ 1873328 h 3562502"/>
              <a:gd name="connsiteX13" fmla="*/ 17279011 w 17279011"/>
              <a:gd name="connsiteY13" fmla="*/ 1867897 h 3562502"/>
              <a:gd name="connsiteX0" fmla="*/ 0 w 19775667"/>
              <a:gd name="connsiteY0" fmla="*/ 1861774 h 3562502"/>
              <a:gd name="connsiteX1" fmla="*/ 10651483 w 19775667"/>
              <a:gd name="connsiteY1" fmla="*/ 1865376 h 3562502"/>
              <a:gd name="connsiteX2" fmla="*/ 10753896 w 19775667"/>
              <a:gd name="connsiteY2" fmla="*/ 1236269 h 3562502"/>
              <a:gd name="connsiteX3" fmla="*/ 11039188 w 19775667"/>
              <a:gd name="connsiteY3" fmla="*/ 3562502 h 3562502"/>
              <a:gd name="connsiteX4" fmla="*/ 11331796 w 19775667"/>
              <a:gd name="connsiteY4" fmla="*/ 14630 h 3562502"/>
              <a:gd name="connsiteX5" fmla="*/ 11642969 w 19775667"/>
              <a:gd name="connsiteY5" fmla="*/ 3076605 h 3562502"/>
              <a:gd name="connsiteX6" fmla="*/ 11783229 w 19775667"/>
              <a:gd name="connsiteY6" fmla="*/ 1867853 h 3562502"/>
              <a:gd name="connsiteX7" fmla="*/ 15243318 w 19775667"/>
              <a:gd name="connsiteY7" fmla="*/ 1868490 h 3562502"/>
              <a:gd name="connsiteX8" fmla="*/ 15498077 w 19775667"/>
              <a:gd name="connsiteY8" fmla="*/ 2848024 h 3562502"/>
              <a:gd name="connsiteX9" fmla="*/ 15750178 w 19775667"/>
              <a:gd name="connsiteY9" fmla="*/ 0 h 3562502"/>
              <a:gd name="connsiteX10" fmla="*/ 16013525 w 19775667"/>
              <a:gd name="connsiteY10" fmla="*/ 3533241 h 3562502"/>
              <a:gd name="connsiteX11" fmla="*/ 16335393 w 19775667"/>
              <a:gd name="connsiteY11" fmla="*/ 1250899 h 3562502"/>
              <a:gd name="connsiteX12" fmla="*/ 16430492 w 19775667"/>
              <a:gd name="connsiteY12" fmla="*/ 1873328 h 3562502"/>
              <a:gd name="connsiteX13" fmla="*/ 19775667 w 19775667"/>
              <a:gd name="connsiteY13" fmla="*/ 1867897 h 3562502"/>
              <a:gd name="connsiteX0" fmla="*/ 0 w 19075538"/>
              <a:gd name="connsiteY0" fmla="*/ 1861774 h 3562502"/>
              <a:gd name="connsiteX1" fmla="*/ 10651483 w 19075538"/>
              <a:gd name="connsiteY1" fmla="*/ 1865376 h 3562502"/>
              <a:gd name="connsiteX2" fmla="*/ 10753896 w 19075538"/>
              <a:gd name="connsiteY2" fmla="*/ 1236269 h 3562502"/>
              <a:gd name="connsiteX3" fmla="*/ 11039188 w 19075538"/>
              <a:gd name="connsiteY3" fmla="*/ 3562502 h 3562502"/>
              <a:gd name="connsiteX4" fmla="*/ 11331796 w 19075538"/>
              <a:gd name="connsiteY4" fmla="*/ 14630 h 3562502"/>
              <a:gd name="connsiteX5" fmla="*/ 11642969 w 19075538"/>
              <a:gd name="connsiteY5" fmla="*/ 3076605 h 3562502"/>
              <a:gd name="connsiteX6" fmla="*/ 11783229 w 19075538"/>
              <a:gd name="connsiteY6" fmla="*/ 1867853 h 3562502"/>
              <a:gd name="connsiteX7" fmla="*/ 15243318 w 19075538"/>
              <a:gd name="connsiteY7" fmla="*/ 1868490 h 3562502"/>
              <a:gd name="connsiteX8" fmla="*/ 15498077 w 19075538"/>
              <a:gd name="connsiteY8" fmla="*/ 2848024 h 3562502"/>
              <a:gd name="connsiteX9" fmla="*/ 15750178 w 19075538"/>
              <a:gd name="connsiteY9" fmla="*/ 0 h 3562502"/>
              <a:gd name="connsiteX10" fmla="*/ 16013525 w 19075538"/>
              <a:gd name="connsiteY10" fmla="*/ 3533241 h 3562502"/>
              <a:gd name="connsiteX11" fmla="*/ 16335393 w 19075538"/>
              <a:gd name="connsiteY11" fmla="*/ 1250899 h 3562502"/>
              <a:gd name="connsiteX12" fmla="*/ 16430492 w 19075538"/>
              <a:gd name="connsiteY12" fmla="*/ 1873328 h 3562502"/>
              <a:gd name="connsiteX13" fmla="*/ 19075538 w 19075538"/>
              <a:gd name="connsiteY13" fmla="*/ 1874243 h 3562502"/>
              <a:gd name="connsiteX0" fmla="*/ 0 w 19096130"/>
              <a:gd name="connsiteY0" fmla="*/ 1861774 h 3562502"/>
              <a:gd name="connsiteX1" fmla="*/ 10651483 w 19096130"/>
              <a:gd name="connsiteY1" fmla="*/ 1865376 h 3562502"/>
              <a:gd name="connsiteX2" fmla="*/ 10753896 w 19096130"/>
              <a:gd name="connsiteY2" fmla="*/ 1236269 h 3562502"/>
              <a:gd name="connsiteX3" fmla="*/ 11039188 w 19096130"/>
              <a:gd name="connsiteY3" fmla="*/ 3562502 h 3562502"/>
              <a:gd name="connsiteX4" fmla="*/ 11331796 w 19096130"/>
              <a:gd name="connsiteY4" fmla="*/ 14630 h 3562502"/>
              <a:gd name="connsiteX5" fmla="*/ 11642969 w 19096130"/>
              <a:gd name="connsiteY5" fmla="*/ 3076605 h 3562502"/>
              <a:gd name="connsiteX6" fmla="*/ 11783229 w 19096130"/>
              <a:gd name="connsiteY6" fmla="*/ 1867853 h 3562502"/>
              <a:gd name="connsiteX7" fmla="*/ 15243318 w 19096130"/>
              <a:gd name="connsiteY7" fmla="*/ 1868490 h 3562502"/>
              <a:gd name="connsiteX8" fmla="*/ 15498077 w 19096130"/>
              <a:gd name="connsiteY8" fmla="*/ 2848024 h 3562502"/>
              <a:gd name="connsiteX9" fmla="*/ 15750178 w 19096130"/>
              <a:gd name="connsiteY9" fmla="*/ 0 h 3562502"/>
              <a:gd name="connsiteX10" fmla="*/ 16013525 w 19096130"/>
              <a:gd name="connsiteY10" fmla="*/ 3533241 h 3562502"/>
              <a:gd name="connsiteX11" fmla="*/ 16335393 w 19096130"/>
              <a:gd name="connsiteY11" fmla="*/ 1250899 h 3562502"/>
              <a:gd name="connsiteX12" fmla="*/ 16430492 w 19096130"/>
              <a:gd name="connsiteY12" fmla="*/ 1873328 h 3562502"/>
              <a:gd name="connsiteX13" fmla="*/ 19096130 w 19096130"/>
              <a:gd name="connsiteY13" fmla="*/ 1874243 h 3562502"/>
              <a:gd name="connsiteX0" fmla="*/ 0 w 19096130"/>
              <a:gd name="connsiteY0" fmla="*/ 1861774 h 3562502"/>
              <a:gd name="connsiteX1" fmla="*/ 10651483 w 19096130"/>
              <a:gd name="connsiteY1" fmla="*/ 1865376 h 3562502"/>
              <a:gd name="connsiteX2" fmla="*/ 10753896 w 19096130"/>
              <a:gd name="connsiteY2" fmla="*/ 1236269 h 3562502"/>
              <a:gd name="connsiteX3" fmla="*/ 11039188 w 19096130"/>
              <a:gd name="connsiteY3" fmla="*/ 3562502 h 3562502"/>
              <a:gd name="connsiteX4" fmla="*/ 11331796 w 19096130"/>
              <a:gd name="connsiteY4" fmla="*/ 14630 h 3562502"/>
              <a:gd name="connsiteX5" fmla="*/ 11642969 w 19096130"/>
              <a:gd name="connsiteY5" fmla="*/ 3076605 h 3562502"/>
              <a:gd name="connsiteX6" fmla="*/ 11783229 w 19096130"/>
              <a:gd name="connsiteY6" fmla="*/ 1867853 h 3562502"/>
              <a:gd name="connsiteX7" fmla="*/ 15243318 w 19096130"/>
              <a:gd name="connsiteY7" fmla="*/ 1868490 h 3562502"/>
              <a:gd name="connsiteX8" fmla="*/ 15498077 w 19096130"/>
              <a:gd name="connsiteY8" fmla="*/ 2848024 h 3562502"/>
              <a:gd name="connsiteX9" fmla="*/ 15750178 w 19096130"/>
              <a:gd name="connsiteY9" fmla="*/ 0 h 3562502"/>
              <a:gd name="connsiteX10" fmla="*/ 16013525 w 19096130"/>
              <a:gd name="connsiteY10" fmla="*/ 3533241 h 3562502"/>
              <a:gd name="connsiteX11" fmla="*/ 16335393 w 19096130"/>
              <a:gd name="connsiteY11" fmla="*/ 1250899 h 3562502"/>
              <a:gd name="connsiteX12" fmla="*/ 16430492 w 19096130"/>
              <a:gd name="connsiteY12" fmla="*/ 1873328 h 3562502"/>
              <a:gd name="connsiteX13" fmla="*/ 19096130 w 19096130"/>
              <a:gd name="connsiteY13" fmla="*/ 1867897 h 3562502"/>
              <a:gd name="connsiteX0" fmla="*/ 0 w 19096130"/>
              <a:gd name="connsiteY0" fmla="*/ 1861774 h 3562502"/>
              <a:gd name="connsiteX1" fmla="*/ 10651483 w 19096130"/>
              <a:gd name="connsiteY1" fmla="*/ 1865376 h 3562502"/>
              <a:gd name="connsiteX2" fmla="*/ 10753896 w 19096130"/>
              <a:gd name="connsiteY2" fmla="*/ 1236269 h 3562502"/>
              <a:gd name="connsiteX3" fmla="*/ 11039188 w 19096130"/>
              <a:gd name="connsiteY3" fmla="*/ 3562502 h 3562502"/>
              <a:gd name="connsiteX4" fmla="*/ 11331796 w 19096130"/>
              <a:gd name="connsiteY4" fmla="*/ 14630 h 3562502"/>
              <a:gd name="connsiteX5" fmla="*/ 11642969 w 19096130"/>
              <a:gd name="connsiteY5" fmla="*/ 3076605 h 3562502"/>
              <a:gd name="connsiteX6" fmla="*/ 11783229 w 19096130"/>
              <a:gd name="connsiteY6" fmla="*/ 1867853 h 3562502"/>
              <a:gd name="connsiteX7" fmla="*/ 15243318 w 19096130"/>
              <a:gd name="connsiteY7" fmla="*/ 1868490 h 3562502"/>
              <a:gd name="connsiteX8" fmla="*/ 15498077 w 19096130"/>
              <a:gd name="connsiteY8" fmla="*/ 2848024 h 3562502"/>
              <a:gd name="connsiteX9" fmla="*/ 15750178 w 19096130"/>
              <a:gd name="connsiteY9" fmla="*/ 0 h 3562502"/>
              <a:gd name="connsiteX10" fmla="*/ 16013525 w 19096130"/>
              <a:gd name="connsiteY10" fmla="*/ 3533241 h 3562502"/>
              <a:gd name="connsiteX11" fmla="*/ 16335393 w 19096130"/>
              <a:gd name="connsiteY11" fmla="*/ 1250899 h 3562502"/>
              <a:gd name="connsiteX12" fmla="*/ 16430492 w 19096130"/>
              <a:gd name="connsiteY12" fmla="*/ 1873328 h 3562502"/>
              <a:gd name="connsiteX13" fmla="*/ 19096130 w 19096130"/>
              <a:gd name="connsiteY13" fmla="*/ 1867897 h 3562502"/>
              <a:gd name="connsiteX0" fmla="*/ 0 w 19096130"/>
              <a:gd name="connsiteY0" fmla="*/ 1861774 h 3562502"/>
              <a:gd name="connsiteX1" fmla="*/ 10651483 w 19096130"/>
              <a:gd name="connsiteY1" fmla="*/ 1865376 h 3562502"/>
              <a:gd name="connsiteX2" fmla="*/ 10753896 w 19096130"/>
              <a:gd name="connsiteY2" fmla="*/ 1236269 h 3562502"/>
              <a:gd name="connsiteX3" fmla="*/ 11039188 w 19096130"/>
              <a:gd name="connsiteY3" fmla="*/ 3562502 h 3562502"/>
              <a:gd name="connsiteX4" fmla="*/ 11331796 w 19096130"/>
              <a:gd name="connsiteY4" fmla="*/ 14630 h 3562502"/>
              <a:gd name="connsiteX5" fmla="*/ 11642969 w 19096130"/>
              <a:gd name="connsiteY5" fmla="*/ 3076605 h 3562502"/>
              <a:gd name="connsiteX6" fmla="*/ 11783229 w 19096130"/>
              <a:gd name="connsiteY6" fmla="*/ 1867853 h 3562502"/>
              <a:gd name="connsiteX7" fmla="*/ 15243318 w 19096130"/>
              <a:gd name="connsiteY7" fmla="*/ 1868490 h 3562502"/>
              <a:gd name="connsiteX8" fmla="*/ 15498077 w 19096130"/>
              <a:gd name="connsiteY8" fmla="*/ 2848024 h 3562502"/>
              <a:gd name="connsiteX9" fmla="*/ 15750178 w 19096130"/>
              <a:gd name="connsiteY9" fmla="*/ 0 h 3562502"/>
              <a:gd name="connsiteX10" fmla="*/ 16013525 w 19096130"/>
              <a:gd name="connsiteY10" fmla="*/ 3533241 h 3562502"/>
              <a:gd name="connsiteX11" fmla="*/ 16335393 w 19096130"/>
              <a:gd name="connsiteY11" fmla="*/ 1250899 h 3562502"/>
              <a:gd name="connsiteX12" fmla="*/ 16430491 w 19096130"/>
              <a:gd name="connsiteY12" fmla="*/ 1860635 h 3562502"/>
              <a:gd name="connsiteX13" fmla="*/ 19096130 w 19096130"/>
              <a:gd name="connsiteY13" fmla="*/ 1867897 h 3562502"/>
              <a:gd name="connsiteX0" fmla="*/ 0 w 19748213"/>
              <a:gd name="connsiteY0" fmla="*/ 1868122 h 3562502"/>
              <a:gd name="connsiteX1" fmla="*/ 11303566 w 19748213"/>
              <a:gd name="connsiteY1" fmla="*/ 1865376 h 3562502"/>
              <a:gd name="connsiteX2" fmla="*/ 11405979 w 19748213"/>
              <a:gd name="connsiteY2" fmla="*/ 1236269 h 3562502"/>
              <a:gd name="connsiteX3" fmla="*/ 11691271 w 19748213"/>
              <a:gd name="connsiteY3" fmla="*/ 3562502 h 3562502"/>
              <a:gd name="connsiteX4" fmla="*/ 11983879 w 19748213"/>
              <a:gd name="connsiteY4" fmla="*/ 14630 h 3562502"/>
              <a:gd name="connsiteX5" fmla="*/ 12295052 w 19748213"/>
              <a:gd name="connsiteY5" fmla="*/ 3076605 h 3562502"/>
              <a:gd name="connsiteX6" fmla="*/ 12435312 w 19748213"/>
              <a:gd name="connsiteY6" fmla="*/ 1867853 h 3562502"/>
              <a:gd name="connsiteX7" fmla="*/ 15895401 w 19748213"/>
              <a:gd name="connsiteY7" fmla="*/ 1868490 h 3562502"/>
              <a:gd name="connsiteX8" fmla="*/ 16150160 w 19748213"/>
              <a:gd name="connsiteY8" fmla="*/ 2848024 h 3562502"/>
              <a:gd name="connsiteX9" fmla="*/ 16402261 w 19748213"/>
              <a:gd name="connsiteY9" fmla="*/ 0 h 3562502"/>
              <a:gd name="connsiteX10" fmla="*/ 16665608 w 19748213"/>
              <a:gd name="connsiteY10" fmla="*/ 3533241 h 3562502"/>
              <a:gd name="connsiteX11" fmla="*/ 16987476 w 19748213"/>
              <a:gd name="connsiteY11" fmla="*/ 1250899 h 3562502"/>
              <a:gd name="connsiteX12" fmla="*/ 17082574 w 19748213"/>
              <a:gd name="connsiteY12" fmla="*/ 1860635 h 3562502"/>
              <a:gd name="connsiteX13" fmla="*/ 19748213 w 19748213"/>
              <a:gd name="connsiteY13" fmla="*/ 1867897 h 3562502"/>
              <a:gd name="connsiteX0" fmla="*/ 0 w 19782534"/>
              <a:gd name="connsiteY0" fmla="*/ 1868122 h 3562502"/>
              <a:gd name="connsiteX1" fmla="*/ 11337887 w 19782534"/>
              <a:gd name="connsiteY1" fmla="*/ 1865376 h 3562502"/>
              <a:gd name="connsiteX2" fmla="*/ 11440300 w 19782534"/>
              <a:gd name="connsiteY2" fmla="*/ 1236269 h 3562502"/>
              <a:gd name="connsiteX3" fmla="*/ 11725592 w 19782534"/>
              <a:gd name="connsiteY3" fmla="*/ 3562502 h 3562502"/>
              <a:gd name="connsiteX4" fmla="*/ 12018200 w 19782534"/>
              <a:gd name="connsiteY4" fmla="*/ 14630 h 3562502"/>
              <a:gd name="connsiteX5" fmla="*/ 12329373 w 19782534"/>
              <a:gd name="connsiteY5" fmla="*/ 3076605 h 3562502"/>
              <a:gd name="connsiteX6" fmla="*/ 12469633 w 19782534"/>
              <a:gd name="connsiteY6" fmla="*/ 1867853 h 3562502"/>
              <a:gd name="connsiteX7" fmla="*/ 15929722 w 19782534"/>
              <a:gd name="connsiteY7" fmla="*/ 1868490 h 3562502"/>
              <a:gd name="connsiteX8" fmla="*/ 16184481 w 19782534"/>
              <a:gd name="connsiteY8" fmla="*/ 2848024 h 3562502"/>
              <a:gd name="connsiteX9" fmla="*/ 16436582 w 19782534"/>
              <a:gd name="connsiteY9" fmla="*/ 0 h 3562502"/>
              <a:gd name="connsiteX10" fmla="*/ 16699929 w 19782534"/>
              <a:gd name="connsiteY10" fmla="*/ 3533241 h 3562502"/>
              <a:gd name="connsiteX11" fmla="*/ 17021797 w 19782534"/>
              <a:gd name="connsiteY11" fmla="*/ 1250899 h 3562502"/>
              <a:gd name="connsiteX12" fmla="*/ 17116895 w 19782534"/>
              <a:gd name="connsiteY12" fmla="*/ 1860635 h 3562502"/>
              <a:gd name="connsiteX13" fmla="*/ 19782534 w 19782534"/>
              <a:gd name="connsiteY13" fmla="*/ 1867897 h 3562502"/>
              <a:gd name="connsiteX0" fmla="*/ 0 w 17116895"/>
              <a:gd name="connsiteY0" fmla="*/ 1868122 h 3562502"/>
              <a:gd name="connsiteX1" fmla="*/ 11337887 w 17116895"/>
              <a:gd name="connsiteY1" fmla="*/ 1865376 h 3562502"/>
              <a:gd name="connsiteX2" fmla="*/ 11440300 w 17116895"/>
              <a:gd name="connsiteY2" fmla="*/ 1236269 h 3562502"/>
              <a:gd name="connsiteX3" fmla="*/ 11725592 w 17116895"/>
              <a:gd name="connsiteY3" fmla="*/ 3562502 h 3562502"/>
              <a:gd name="connsiteX4" fmla="*/ 12018200 w 17116895"/>
              <a:gd name="connsiteY4" fmla="*/ 14630 h 3562502"/>
              <a:gd name="connsiteX5" fmla="*/ 12329373 w 17116895"/>
              <a:gd name="connsiteY5" fmla="*/ 3076605 h 3562502"/>
              <a:gd name="connsiteX6" fmla="*/ 12469633 w 17116895"/>
              <a:gd name="connsiteY6" fmla="*/ 1867853 h 3562502"/>
              <a:gd name="connsiteX7" fmla="*/ 15929722 w 17116895"/>
              <a:gd name="connsiteY7" fmla="*/ 1868490 h 3562502"/>
              <a:gd name="connsiteX8" fmla="*/ 16184481 w 17116895"/>
              <a:gd name="connsiteY8" fmla="*/ 2848024 h 3562502"/>
              <a:gd name="connsiteX9" fmla="*/ 16436582 w 17116895"/>
              <a:gd name="connsiteY9" fmla="*/ 0 h 3562502"/>
              <a:gd name="connsiteX10" fmla="*/ 16699929 w 17116895"/>
              <a:gd name="connsiteY10" fmla="*/ 3533241 h 3562502"/>
              <a:gd name="connsiteX11" fmla="*/ 17021797 w 17116895"/>
              <a:gd name="connsiteY11" fmla="*/ 1250899 h 3562502"/>
              <a:gd name="connsiteX12" fmla="*/ 17116895 w 17116895"/>
              <a:gd name="connsiteY12" fmla="*/ 1860635 h 3562502"/>
              <a:gd name="connsiteX0" fmla="*/ 0 w 17021797"/>
              <a:gd name="connsiteY0" fmla="*/ 1868122 h 3562502"/>
              <a:gd name="connsiteX1" fmla="*/ 11337887 w 17021797"/>
              <a:gd name="connsiteY1" fmla="*/ 1865376 h 3562502"/>
              <a:gd name="connsiteX2" fmla="*/ 11440300 w 17021797"/>
              <a:gd name="connsiteY2" fmla="*/ 1236269 h 3562502"/>
              <a:gd name="connsiteX3" fmla="*/ 11725592 w 17021797"/>
              <a:gd name="connsiteY3" fmla="*/ 3562502 h 3562502"/>
              <a:gd name="connsiteX4" fmla="*/ 12018200 w 17021797"/>
              <a:gd name="connsiteY4" fmla="*/ 14630 h 3562502"/>
              <a:gd name="connsiteX5" fmla="*/ 12329373 w 17021797"/>
              <a:gd name="connsiteY5" fmla="*/ 3076605 h 3562502"/>
              <a:gd name="connsiteX6" fmla="*/ 12469633 w 17021797"/>
              <a:gd name="connsiteY6" fmla="*/ 1867853 h 3562502"/>
              <a:gd name="connsiteX7" fmla="*/ 15929722 w 17021797"/>
              <a:gd name="connsiteY7" fmla="*/ 1868490 h 3562502"/>
              <a:gd name="connsiteX8" fmla="*/ 16184481 w 17021797"/>
              <a:gd name="connsiteY8" fmla="*/ 2848024 h 3562502"/>
              <a:gd name="connsiteX9" fmla="*/ 16436582 w 17021797"/>
              <a:gd name="connsiteY9" fmla="*/ 0 h 3562502"/>
              <a:gd name="connsiteX10" fmla="*/ 16699929 w 17021797"/>
              <a:gd name="connsiteY10" fmla="*/ 3533241 h 3562502"/>
              <a:gd name="connsiteX11" fmla="*/ 17021797 w 17021797"/>
              <a:gd name="connsiteY11" fmla="*/ 1250899 h 3562502"/>
              <a:gd name="connsiteX0" fmla="*/ 0 w 16699928"/>
              <a:gd name="connsiteY0" fmla="*/ 1868122 h 3562502"/>
              <a:gd name="connsiteX1" fmla="*/ 11337887 w 16699928"/>
              <a:gd name="connsiteY1" fmla="*/ 1865376 h 3562502"/>
              <a:gd name="connsiteX2" fmla="*/ 11440300 w 16699928"/>
              <a:gd name="connsiteY2" fmla="*/ 1236269 h 3562502"/>
              <a:gd name="connsiteX3" fmla="*/ 11725592 w 16699928"/>
              <a:gd name="connsiteY3" fmla="*/ 3562502 h 3562502"/>
              <a:gd name="connsiteX4" fmla="*/ 12018200 w 16699928"/>
              <a:gd name="connsiteY4" fmla="*/ 14630 h 3562502"/>
              <a:gd name="connsiteX5" fmla="*/ 12329373 w 16699928"/>
              <a:gd name="connsiteY5" fmla="*/ 3076605 h 3562502"/>
              <a:gd name="connsiteX6" fmla="*/ 12469633 w 16699928"/>
              <a:gd name="connsiteY6" fmla="*/ 1867853 h 3562502"/>
              <a:gd name="connsiteX7" fmla="*/ 15929722 w 16699928"/>
              <a:gd name="connsiteY7" fmla="*/ 1868490 h 3562502"/>
              <a:gd name="connsiteX8" fmla="*/ 16184481 w 16699928"/>
              <a:gd name="connsiteY8" fmla="*/ 2848024 h 3562502"/>
              <a:gd name="connsiteX9" fmla="*/ 16436582 w 16699928"/>
              <a:gd name="connsiteY9" fmla="*/ 0 h 3562502"/>
              <a:gd name="connsiteX10" fmla="*/ 16699929 w 16699928"/>
              <a:gd name="connsiteY10" fmla="*/ 3533241 h 3562502"/>
              <a:gd name="connsiteX0" fmla="*/ 0 w 16436581"/>
              <a:gd name="connsiteY0" fmla="*/ 1868122 h 3562502"/>
              <a:gd name="connsiteX1" fmla="*/ 11337887 w 16436581"/>
              <a:gd name="connsiteY1" fmla="*/ 1865376 h 3562502"/>
              <a:gd name="connsiteX2" fmla="*/ 11440300 w 16436581"/>
              <a:gd name="connsiteY2" fmla="*/ 1236269 h 3562502"/>
              <a:gd name="connsiteX3" fmla="*/ 11725592 w 16436581"/>
              <a:gd name="connsiteY3" fmla="*/ 3562502 h 3562502"/>
              <a:gd name="connsiteX4" fmla="*/ 12018200 w 16436581"/>
              <a:gd name="connsiteY4" fmla="*/ 14630 h 3562502"/>
              <a:gd name="connsiteX5" fmla="*/ 12329373 w 16436581"/>
              <a:gd name="connsiteY5" fmla="*/ 3076605 h 3562502"/>
              <a:gd name="connsiteX6" fmla="*/ 12469633 w 16436581"/>
              <a:gd name="connsiteY6" fmla="*/ 1867853 h 3562502"/>
              <a:gd name="connsiteX7" fmla="*/ 15929722 w 16436581"/>
              <a:gd name="connsiteY7" fmla="*/ 1868490 h 3562502"/>
              <a:gd name="connsiteX8" fmla="*/ 16184481 w 16436581"/>
              <a:gd name="connsiteY8" fmla="*/ 2848024 h 3562502"/>
              <a:gd name="connsiteX9" fmla="*/ 16436582 w 16436581"/>
              <a:gd name="connsiteY9" fmla="*/ 0 h 3562502"/>
              <a:gd name="connsiteX0" fmla="*/ 0 w 16184481"/>
              <a:gd name="connsiteY0" fmla="*/ 1853491 h 3547871"/>
              <a:gd name="connsiteX1" fmla="*/ 11337887 w 16184481"/>
              <a:gd name="connsiteY1" fmla="*/ 1850745 h 3547871"/>
              <a:gd name="connsiteX2" fmla="*/ 11440300 w 16184481"/>
              <a:gd name="connsiteY2" fmla="*/ 1221638 h 3547871"/>
              <a:gd name="connsiteX3" fmla="*/ 11725592 w 16184481"/>
              <a:gd name="connsiteY3" fmla="*/ 3547871 h 3547871"/>
              <a:gd name="connsiteX4" fmla="*/ 12018200 w 16184481"/>
              <a:gd name="connsiteY4" fmla="*/ -1 h 3547871"/>
              <a:gd name="connsiteX5" fmla="*/ 12329373 w 16184481"/>
              <a:gd name="connsiteY5" fmla="*/ 3061974 h 3547871"/>
              <a:gd name="connsiteX6" fmla="*/ 12469633 w 16184481"/>
              <a:gd name="connsiteY6" fmla="*/ 1853222 h 3547871"/>
              <a:gd name="connsiteX7" fmla="*/ 15929722 w 16184481"/>
              <a:gd name="connsiteY7" fmla="*/ 1853859 h 3547871"/>
              <a:gd name="connsiteX8" fmla="*/ 16184481 w 16184481"/>
              <a:gd name="connsiteY8" fmla="*/ 2833393 h 3547871"/>
              <a:gd name="connsiteX0" fmla="*/ 0 w 15929721"/>
              <a:gd name="connsiteY0" fmla="*/ 1853492 h 3547872"/>
              <a:gd name="connsiteX1" fmla="*/ 11337887 w 15929721"/>
              <a:gd name="connsiteY1" fmla="*/ 1850746 h 3547872"/>
              <a:gd name="connsiteX2" fmla="*/ 11440300 w 15929721"/>
              <a:gd name="connsiteY2" fmla="*/ 1221639 h 3547872"/>
              <a:gd name="connsiteX3" fmla="*/ 11725592 w 15929721"/>
              <a:gd name="connsiteY3" fmla="*/ 3547872 h 3547872"/>
              <a:gd name="connsiteX4" fmla="*/ 12018200 w 15929721"/>
              <a:gd name="connsiteY4" fmla="*/ 0 h 3547872"/>
              <a:gd name="connsiteX5" fmla="*/ 12329373 w 15929721"/>
              <a:gd name="connsiteY5" fmla="*/ 3061975 h 3547872"/>
              <a:gd name="connsiteX6" fmla="*/ 12469633 w 15929721"/>
              <a:gd name="connsiteY6" fmla="*/ 1853223 h 3547872"/>
              <a:gd name="connsiteX7" fmla="*/ 15929722 w 15929721"/>
              <a:gd name="connsiteY7" fmla="*/ 1853860 h 3547872"/>
              <a:gd name="connsiteX0" fmla="*/ 0 w 17764659"/>
              <a:gd name="connsiteY0" fmla="*/ 1853492 h 3547872"/>
              <a:gd name="connsiteX1" fmla="*/ 11337887 w 17764659"/>
              <a:gd name="connsiteY1" fmla="*/ 1850746 h 3547872"/>
              <a:gd name="connsiteX2" fmla="*/ 11440300 w 17764659"/>
              <a:gd name="connsiteY2" fmla="*/ 1221639 h 3547872"/>
              <a:gd name="connsiteX3" fmla="*/ 11725592 w 17764659"/>
              <a:gd name="connsiteY3" fmla="*/ 3547872 h 3547872"/>
              <a:gd name="connsiteX4" fmla="*/ 12018200 w 17764659"/>
              <a:gd name="connsiteY4" fmla="*/ 0 h 3547872"/>
              <a:gd name="connsiteX5" fmla="*/ 12329373 w 17764659"/>
              <a:gd name="connsiteY5" fmla="*/ 3061975 h 3547872"/>
              <a:gd name="connsiteX6" fmla="*/ 12469633 w 17764659"/>
              <a:gd name="connsiteY6" fmla="*/ 1853223 h 3547872"/>
              <a:gd name="connsiteX7" fmla="*/ 17764659 w 17764659"/>
              <a:gd name="connsiteY7" fmla="*/ 1853861 h 3547872"/>
              <a:gd name="connsiteX0" fmla="*/ 0 w 14909810"/>
              <a:gd name="connsiteY0" fmla="*/ 1853492 h 3547872"/>
              <a:gd name="connsiteX1" fmla="*/ 11337887 w 14909810"/>
              <a:gd name="connsiteY1" fmla="*/ 1850746 h 3547872"/>
              <a:gd name="connsiteX2" fmla="*/ 11440300 w 14909810"/>
              <a:gd name="connsiteY2" fmla="*/ 1221639 h 3547872"/>
              <a:gd name="connsiteX3" fmla="*/ 11725592 w 14909810"/>
              <a:gd name="connsiteY3" fmla="*/ 3547872 h 3547872"/>
              <a:gd name="connsiteX4" fmla="*/ 12018200 w 14909810"/>
              <a:gd name="connsiteY4" fmla="*/ 0 h 3547872"/>
              <a:gd name="connsiteX5" fmla="*/ 12329373 w 14909810"/>
              <a:gd name="connsiteY5" fmla="*/ 3061975 h 3547872"/>
              <a:gd name="connsiteX6" fmla="*/ 12469633 w 14909810"/>
              <a:gd name="connsiteY6" fmla="*/ 1853223 h 3547872"/>
              <a:gd name="connsiteX7" fmla="*/ 14909810 w 14909810"/>
              <a:gd name="connsiteY7" fmla="*/ 1853861 h 3547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909810" h="3547872">
                <a:moveTo>
                  <a:pt x="0" y="1853492"/>
                </a:moveTo>
                <a:lnTo>
                  <a:pt x="11337887" y="1850746"/>
                </a:lnTo>
                <a:lnTo>
                  <a:pt x="11440300" y="1221639"/>
                </a:lnTo>
                <a:lnTo>
                  <a:pt x="11725592" y="3547872"/>
                </a:lnTo>
                <a:lnTo>
                  <a:pt x="12018200" y="0"/>
                </a:lnTo>
                <a:lnTo>
                  <a:pt x="12329373" y="3061975"/>
                </a:lnTo>
                <a:lnTo>
                  <a:pt x="12469633" y="1853223"/>
                </a:lnTo>
                <a:lnTo>
                  <a:pt x="14909810" y="1853861"/>
                </a:lnTo>
              </a:path>
            </a:pathLst>
          </a:custGeom>
          <a:ln w="508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ko-KR" altLang="en-US" sz="2701" dirty="0"/>
          </a:p>
        </p:txBody>
      </p:sp>
      <p:graphicFrame>
        <p:nvGraphicFramePr>
          <p:cNvPr id="6" name="Object 5" hidden="1">
            <a:extLst>
              <a:ext uri="{FF2B5EF4-FFF2-40B4-BE49-F238E27FC236}">
                <a16:creationId xmlns:a16="http://schemas.microsoft.com/office/drawing/2014/main" id="{697B821F-6866-449B-ABE9-452ADC0E5FD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6" name="Object 5" hidden="1">
                        <a:extLst>
                          <a:ext uri="{FF2B5EF4-FFF2-40B4-BE49-F238E27FC236}">
                            <a16:creationId xmlns:a16="http://schemas.microsoft.com/office/drawing/2014/main" id="{697B821F-6866-449B-ABE9-452ADC0E5FD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E15CCBF-17ED-405C-AA08-598B42811486}"/>
              </a:ext>
            </a:extLst>
          </p:cNvPr>
          <p:cNvSpPr>
            <a:spLocks noGrp="1"/>
          </p:cNvSpPr>
          <p:nvPr>
            <p:ph type="title"/>
          </p:nvPr>
        </p:nvSpPr>
        <p:spPr>
          <a:xfrm>
            <a:off x="304747" y="540582"/>
            <a:ext cx="11592000" cy="332399"/>
          </a:xfrm>
        </p:spPr>
        <p:txBody>
          <a:bodyPr vert="horz"/>
          <a:lstStyle/>
          <a:p>
            <a:r>
              <a:rPr lang="en-US" dirty="0"/>
              <a:t>Benefits</a:t>
            </a:r>
            <a:r>
              <a:rPr lang="de-DE" dirty="0"/>
              <a:t> vs. Challenges</a:t>
            </a:r>
            <a:endParaRPr lang="en-US" dirty="0"/>
          </a:p>
        </p:txBody>
      </p:sp>
      <p:sp>
        <p:nvSpPr>
          <p:cNvPr id="3" name="Text Placeholder 2">
            <a:extLst>
              <a:ext uri="{FF2B5EF4-FFF2-40B4-BE49-F238E27FC236}">
                <a16:creationId xmlns:a16="http://schemas.microsoft.com/office/drawing/2014/main" id="{DB87CEA0-C113-47ED-8948-C6697BF20E9E}"/>
              </a:ext>
            </a:extLst>
          </p:cNvPr>
          <p:cNvSpPr>
            <a:spLocks noGrp="1"/>
          </p:cNvSpPr>
          <p:nvPr>
            <p:ph type="body" sz="quarter" idx="14"/>
          </p:nvPr>
        </p:nvSpPr>
        <p:spPr>
          <a:xfrm>
            <a:off x="304747" y="188095"/>
            <a:ext cx="11592000" cy="180000"/>
          </a:xfrm>
        </p:spPr>
        <p:txBody>
          <a:bodyPr/>
          <a:lstStyle/>
          <a:p>
            <a:endParaRPr lang="en-US"/>
          </a:p>
        </p:txBody>
      </p:sp>
      <p:sp>
        <p:nvSpPr>
          <p:cNvPr id="4" name="Text Placeholder 3">
            <a:extLst>
              <a:ext uri="{FF2B5EF4-FFF2-40B4-BE49-F238E27FC236}">
                <a16:creationId xmlns:a16="http://schemas.microsoft.com/office/drawing/2014/main" id="{BF7EBC98-0F79-434F-8132-4D1752DF3C06}"/>
              </a:ext>
            </a:extLst>
          </p:cNvPr>
          <p:cNvSpPr>
            <a:spLocks noGrp="1"/>
          </p:cNvSpPr>
          <p:nvPr>
            <p:ph type="body" sz="quarter" idx="15"/>
          </p:nvPr>
        </p:nvSpPr>
        <p:spPr/>
        <p:txBody>
          <a:bodyPr/>
          <a:lstStyle/>
          <a:p>
            <a:endParaRPr lang="en-US" dirty="0"/>
          </a:p>
        </p:txBody>
      </p:sp>
      <p:sp>
        <p:nvSpPr>
          <p:cNvPr id="10" name="TextBox 9">
            <a:extLst>
              <a:ext uri="{FF2B5EF4-FFF2-40B4-BE49-F238E27FC236}">
                <a16:creationId xmlns:a16="http://schemas.microsoft.com/office/drawing/2014/main" id="{AFE9E9A9-CEFF-4372-8AAB-5BF42D466CBB}"/>
              </a:ext>
            </a:extLst>
          </p:cNvPr>
          <p:cNvSpPr txBox="1"/>
          <p:nvPr/>
        </p:nvSpPr>
        <p:spPr>
          <a:xfrm>
            <a:off x="1756276" y="4278535"/>
            <a:ext cx="8097938" cy="1754326"/>
          </a:xfrm>
          <a:prstGeom prst="rect">
            <a:avLst/>
          </a:prstGeom>
          <a:noFill/>
        </p:spPr>
        <p:txBody>
          <a:bodyPr wrap="square" rtlCol="0">
            <a:spAutoFit/>
          </a:bodyPr>
          <a:lstStyle/>
          <a:p>
            <a:r>
              <a:rPr lang="en-US" sz="1200" dirty="0"/>
              <a:t>“</a:t>
            </a:r>
            <a:r>
              <a:rPr lang="en-US" sz="1200" b="1" dirty="0"/>
              <a:t>Performance: </a:t>
            </a:r>
            <a:r>
              <a:rPr lang="en-US" sz="1200" dirty="0"/>
              <a:t>For sure, comparing the performance of very mature solutions from vendors who deployed very early, against the very latest ORAN vendors solution is not very fair! There is still a long way to go to reach good maturity for ORAN solutions</a:t>
            </a:r>
          </a:p>
          <a:p>
            <a:r>
              <a:rPr lang="en-US" sz="1200" b="1" dirty="0"/>
              <a:t>Real interoperability: </a:t>
            </a:r>
            <a:r>
              <a:rPr lang="en-US" sz="1200" dirty="0"/>
              <a:t>Actually, one of the big issues of the ORAN nowadays is the full interoperability between OS, SW, HW and orchestrators vendors. Today, not all vendors are compatible for the time being, and that’s why, before deployment, CSPs still need to do IOT interoperability testing of the solution</a:t>
            </a:r>
          </a:p>
          <a:p>
            <a:r>
              <a:rPr lang="en-US" sz="1200" b="1" dirty="0"/>
              <a:t>Infrastructure readiness: </a:t>
            </a:r>
            <a:r>
              <a:rPr lang="en-US" sz="1200" dirty="0"/>
              <a:t>In ORAN the fronthaul interface is mostly conveying real time data and signaling. That’s why we need to adopt very strict performance requirements between sites and EDGE clouds or Central clouds according to the selected split options.”</a:t>
            </a:r>
          </a:p>
        </p:txBody>
      </p:sp>
      <p:sp>
        <p:nvSpPr>
          <p:cNvPr id="11" name="TextBox 10">
            <a:extLst>
              <a:ext uri="{FF2B5EF4-FFF2-40B4-BE49-F238E27FC236}">
                <a16:creationId xmlns:a16="http://schemas.microsoft.com/office/drawing/2014/main" id="{048D149B-E676-441A-B236-2EA15EC549F4}"/>
              </a:ext>
            </a:extLst>
          </p:cNvPr>
          <p:cNvSpPr txBox="1"/>
          <p:nvPr/>
        </p:nvSpPr>
        <p:spPr>
          <a:xfrm>
            <a:off x="304747" y="2091711"/>
            <a:ext cx="1190893" cy="276999"/>
          </a:xfrm>
          <a:prstGeom prst="rect">
            <a:avLst/>
          </a:prstGeom>
          <a:noFill/>
        </p:spPr>
        <p:txBody>
          <a:bodyPr wrap="square" lIns="0" tIns="0" rIns="0" bIns="0" rtlCol="0" anchor="ctr">
            <a:spAutoFit/>
          </a:bodyPr>
          <a:lstStyle/>
          <a:p>
            <a:r>
              <a:rPr lang="en-GB" altLang="ko-KR" dirty="0">
                <a:solidFill>
                  <a:schemeClr val="accent5"/>
                </a:solidFill>
                <a:cs typeface="Arial" pitchFamily="34" charset="0"/>
              </a:rPr>
              <a:t>Benefits</a:t>
            </a:r>
            <a:endParaRPr lang="ko-KR" altLang="en-US" dirty="0">
              <a:solidFill>
                <a:schemeClr val="accent5"/>
              </a:solidFill>
              <a:cs typeface="Arial" pitchFamily="34" charset="0"/>
            </a:endParaRPr>
          </a:p>
        </p:txBody>
      </p:sp>
      <p:sp>
        <p:nvSpPr>
          <p:cNvPr id="12" name="TextBox 11">
            <a:extLst>
              <a:ext uri="{FF2B5EF4-FFF2-40B4-BE49-F238E27FC236}">
                <a16:creationId xmlns:a16="http://schemas.microsoft.com/office/drawing/2014/main" id="{C1F2F818-F2AB-418D-BCD7-59605A864A8B}"/>
              </a:ext>
            </a:extLst>
          </p:cNvPr>
          <p:cNvSpPr txBox="1"/>
          <p:nvPr/>
        </p:nvSpPr>
        <p:spPr>
          <a:xfrm>
            <a:off x="304746" y="4725269"/>
            <a:ext cx="1343836" cy="276999"/>
          </a:xfrm>
          <a:prstGeom prst="rect">
            <a:avLst/>
          </a:prstGeom>
          <a:noFill/>
        </p:spPr>
        <p:txBody>
          <a:bodyPr wrap="square" lIns="0" tIns="0" rIns="0" bIns="0" rtlCol="0" anchor="ctr">
            <a:spAutoFit/>
          </a:bodyPr>
          <a:lstStyle/>
          <a:p>
            <a:r>
              <a:rPr lang="en-GB" altLang="ko-KR" b="1" dirty="0">
                <a:solidFill>
                  <a:srgbClr val="00B0F0"/>
                </a:solidFill>
                <a:cs typeface="Arial" pitchFamily="34" charset="0"/>
              </a:rPr>
              <a:t>Challenges</a:t>
            </a:r>
            <a:endParaRPr lang="ko-KR" altLang="en-US" b="1" dirty="0">
              <a:solidFill>
                <a:srgbClr val="00B0F0"/>
              </a:solidFill>
              <a:cs typeface="Arial" pitchFamily="34" charset="0"/>
            </a:endParaRPr>
          </a:p>
        </p:txBody>
      </p:sp>
      <p:sp>
        <p:nvSpPr>
          <p:cNvPr id="20" name="Oval 19">
            <a:extLst>
              <a:ext uri="{FF2B5EF4-FFF2-40B4-BE49-F238E27FC236}">
                <a16:creationId xmlns:a16="http://schemas.microsoft.com/office/drawing/2014/main" id="{9B08B728-24FA-4F0C-8E26-2C3EA65BD263}"/>
              </a:ext>
            </a:extLst>
          </p:cNvPr>
          <p:cNvSpPr/>
          <p:nvPr/>
        </p:nvSpPr>
        <p:spPr>
          <a:xfrm>
            <a:off x="9445841" y="2091710"/>
            <a:ext cx="2450906" cy="2524677"/>
          </a:xfrm>
          <a:prstGeom prst="ellipse">
            <a:avLst/>
          </a:prstGeom>
          <a:blipFill>
            <a:blip r:embed="rId5"/>
            <a:stretch>
              <a:fillRect l="-27589" r="-56012"/>
            </a:stretch>
          </a:bli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tx1"/>
              </a:buClr>
              <a:buSzPct val="80000"/>
              <a:buFont typeface="Wingdings 2" panose="05020102010507070707" pitchFamily="18" charset="2"/>
              <a:buChar char="¡"/>
            </a:pPr>
            <a:endParaRPr lang="en-US" sz="1400" dirty="0">
              <a:solidFill>
                <a:schemeClr val="tx1"/>
              </a:solidFill>
            </a:endParaRPr>
          </a:p>
        </p:txBody>
      </p:sp>
      <p:sp>
        <p:nvSpPr>
          <p:cNvPr id="101" name="TextBox 100">
            <a:extLst>
              <a:ext uri="{FF2B5EF4-FFF2-40B4-BE49-F238E27FC236}">
                <a16:creationId xmlns:a16="http://schemas.microsoft.com/office/drawing/2014/main" id="{FCE8511F-8C40-6205-0BD0-E16EDD4F1F39}"/>
              </a:ext>
            </a:extLst>
          </p:cNvPr>
          <p:cNvSpPr txBox="1"/>
          <p:nvPr/>
        </p:nvSpPr>
        <p:spPr>
          <a:xfrm>
            <a:off x="1648582" y="1326582"/>
            <a:ext cx="7446145" cy="2308324"/>
          </a:xfrm>
          <a:prstGeom prst="rect">
            <a:avLst/>
          </a:prstGeom>
          <a:noFill/>
        </p:spPr>
        <p:txBody>
          <a:bodyPr wrap="square">
            <a:spAutoFit/>
          </a:bodyPr>
          <a:lstStyle/>
          <a:p>
            <a:r>
              <a:rPr lang="en-US" sz="1200" dirty="0">
                <a:solidFill>
                  <a:srgbClr val="000000"/>
                </a:solidFill>
                <a:cs typeface="Times New Roman" panose="02020603050405020304" pitchFamily="18" charset="0"/>
              </a:rPr>
              <a:t>increase </a:t>
            </a:r>
            <a:r>
              <a:rPr lang="en-US" sz="1200" b="1" dirty="0">
                <a:solidFill>
                  <a:srgbClr val="000000"/>
                </a:solidFill>
                <a:cs typeface="Times New Roman" panose="02020603050405020304" pitchFamily="18" charset="0"/>
              </a:rPr>
              <a:t>vendor diversity </a:t>
            </a:r>
            <a:r>
              <a:rPr lang="en-US" sz="1200" dirty="0">
                <a:solidFill>
                  <a:srgbClr val="000000"/>
                </a:solidFill>
                <a:cs typeface="Times New Roman" panose="02020603050405020304" pitchFamily="18" charset="0"/>
              </a:rPr>
              <a:t>and avoid lock-in.</a:t>
            </a:r>
          </a:p>
          <a:p>
            <a:r>
              <a:rPr lang="en-US" sz="1200" dirty="0">
                <a:solidFill>
                  <a:srgbClr val="000000"/>
                </a:solidFill>
                <a:cs typeface="Times New Roman" panose="02020603050405020304" pitchFamily="18" charset="0"/>
              </a:rPr>
              <a:t>This happens when service providers are “locked in” using a single vendor to supply their equipment and software because switching suppliers isn’t straightforward. Now, service providers want to move away from single-vendor solutions towards open, multi-vendor networks with enhanced control and flexibility.</a:t>
            </a:r>
          </a:p>
          <a:p>
            <a:r>
              <a:rPr lang="en-US" sz="1200" dirty="0">
                <a:solidFill>
                  <a:srgbClr val="000000"/>
                </a:solidFill>
                <a:cs typeface="Times New Roman" panose="02020603050405020304" pitchFamily="18" charset="0"/>
              </a:rPr>
              <a:t>Deploying O-RAN gives providers a clear path towards fully programmable, intelligent, and multi-vendor RAN with the help of a RAN Intelligent Controller (RIC).</a:t>
            </a:r>
          </a:p>
          <a:p>
            <a:r>
              <a:rPr lang="en-US" sz="1200" dirty="0">
                <a:solidFill>
                  <a:srgbClr val="000000"/>
                </a:solidFill>
                <a:cs typeface="Times New Roman" panose="02020603050405020304" pitchFamily="18" charset="0"/>
              </a:rPr>
              <a:t>A RAN Intelligent Controller (RIC) is a software-defined component of the Open RAN architecture that controls and optimizes RAN functions. The RIC is an important part of Open RAN disaggregation, bringing multi-vendor interoperability, intelligence, agility, and programmability to radio access networks. It enables the onboarding of third-party applications that automate and optimize RAN operations at scale while supporting innovative use cases that lower mobile operators’ total cost of ownership (TCO) and enhance customers’ quality of experience (</a:t>
            </a:r>
            <a:r>
              <a:rPr lang="en-US" sz="1200" dirty="0" err="1">
                <a:solidFill>
                  <a:srgbClr val="000000"/>
                </a:solidFill>
                <a:cs typeface="Times New Roman" panose="02020603050405020304" pitchFamily="18" charset="0"/>
              </a:rPr>
              <a:t>QoE</a:t>
            </a:r>
            <a:r>
              <a:rPr lang="en-US" sz="1200" dirty="0">
                <a:solidFill>
                  <a:srgbClr val="000000"/>
                </a:solidFill>
                <a:cs typeface="Times New Roman" panose="02020603050405020304" pitchFamily="18" charset="0"/>
              </a:rPr>
              <a:t>).</a:t>
            </a:r>
          </a:p>
        </p:txBody>
      </p:sp>
    </p:spTree>
    <p:extLst>
      <p:ext uri="{BB962C8B-B14F-4D97-AF65-F5344CB8AC3E}">
        <p14:creationId xmlns:p14="http://schemas.microsoft.com/office/powerpoint/2010/main" val="22422947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4" name="Object 2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 name="Title 27"/>
          <p:cNvSpPr>
            <a:spLocks noGrp="1"/>
          </p:cNvSpPr>
          <p:nvPr>
            <p:ph type="title"/>
          </p:nvPr>
        </p:nvSpPr>
        <p:spPr>
          <a:solidFill>
            <a:schemeClr val="bg1"/>
          </a:solidFill>
        </p:spPr>
        <p:txBody>
          <a:bodyPr/>
          <a:lstStyle/>
          <a:p>
            <a:br>
              <a:rPr lang="en-US" dirty="0"/>
            </a:br>
            <a:endParaRPr lang="en-US" dirty="0"/>
          </a:p>
        </p:txBody>
      </p:sp>
      <p:sp>
        <p:nvSpPr>
          <p:cNvPr id="2" name="Text Placeholder 1">
            <a:extLst>
              <a:ext uri="{FF2B5EF4-FFF2-40B4-BE49-F238E27FC236}">
                <a16:creationId xmlns:a16="http://schemas.microsoft.com/office/drawing/2014/main" id="{489682A9-221B-45B5-BE76-D6B444A97A61}"/>
              </a:ext>
            </a:extLst>
          </p:cNvPr>
          <p:cNvSpPr>
            <a:spLocks noGrp="1"/>
          </p:cNvSpPr>
          <p:nvPr>
            <p:ph type="body" sz="quarter" idx="14"/>
          </p:nvPr>
        </p:nvSpPr>
        <p:spPr/>
        <p:txBody>
          <a:bodyPr/>
          <a:lstStyle/>
          <a:p>
            <a:endParaRPr lang="en-US" dirty="0"/>
          </a:p>
        </p:txBody>
      </p:sp>
      <p:sp>
        <p:nvSpPr>
          <p:cNvPr id="3" name="Text Placeholder 2">
            <a:extLst>
              <a:ext uri="{FF2B5EF4-FFF2-40B4-BE49-F238E27FC236}">
                <a16:creationId xmlns:a16="http://schemas.microsoft.com/office/drawing/2014/main" id="{C9E6B1BB-CB5A-493F-94AF-214FD562B741}"/>
              </a:ext>
            </a:extLst>
          </p:cNvPr>
          <p:cNvSpPr>
            <a:spLocks noGrp="1"/>
          </p:cNvSpPr>
          <p:nvPr>
            <p:ph type="body" sz="quarter" idx="21"/>
          </p:nvPr>
        </p:nvSpPr>
        <p:spPr/>
        <p:txBody>
          <a:bodyPr/>
          <a:lstStyle/>
          <a:p>
            <a:endParaRPr lang="en-US"/>
          </a:p>
        </p:txBody>
      </p:sp>
      <p:sp>
        <p:nvSpPr>
          <p:cNvPr id="5" name="Rectangle 7"/>
          <p:cNvSpPr>
            <a:spLocks noChangeArrowheads="1"/>
          </p:cNvSpPr>
          <p:nvPr/>
        </p:nvSpPr>
        <p:spPr bwMode="auto">
          <a:xfrm>
            <a:off x="309092" y="1989766"/>
            <a:ext cx="11573816" cy="3621201"/>
          </a:xfrm>
          <a:prstGeom prst="rect">
            <a:avLst/>
          </a:prstGeom>
          <a:noFill/>
          <a:ln w="317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6700" tIns="48350" rIns="96700" bIns="48350" numCol="1" anchor="t" anchorCtr="0" compatLnSpc="1">
            <a:prstTxWarp prst="textNoShape">
              <a:avLst/>
            </a:prstTxWarp>
          </a:bodyPr>
          <a:lstStyle/>
          <a:p>
            <a:endParaRPr lang="en-US" sz="2013" dirty="0"/>
          </a:p>
        </p:txBody>
      </p:sp>
      <p:grpSp>
        <p:nvGrpSpPr>
          <p:cNvPr id="10" name="Group 9"/>
          <p:cNvGrpSpPr/>
          <p:nvPr/>
        </p:nvGrpSpPr>
        <p:grpSpPr>
          <a:xfrm>
            <a:off x="3363584" y="1608986"/>
            <a:ext cx="2700773" cy="1520602"/>
            <a:chOff x="3363584" y="1608986"/>
            <a:chExt cx="2700773" cy="1520602"/>
          </a:xfrm>
        </p:grpSpPr>
        <p:sp>
          <p:nvSpPr>
            <p:cNvPr id="7" name="Freeform 6"/>
            <p:cNvSpPr>
              <a:spLocks/>
            </p:cNvSpPr>
            <p:nvPr/>
          </p:nvSpPr>
          <p:spPr bwMode="auto">
            <a:xfrm>
              <a:off x="3363584" y="1634203"/>
              <a:ext cx="1054082" cy="355564"/>
            </a:xfrm>
            <a:custGeom>
              <a:avLst/>
              <a:gdLst>
                <a:gd name="T0" fmla="*/ 0 w 836"/>
                <a:gd name="T1" fmla="*/ 282 h 282"/>
                <a:gd name="T2" fmla="*/ 836 w 836"/>
                <a:gd name="T3" fmla="*/ 282 h 282"/>
                <a:gd name="T4" fmla="*/ 836 w 836"/>
                <a:gd name="T5" fmla="*/ 0 h 282"/>
                <a:gd name="T6" fmla="*/ 268 w 836"/>
                <a:gd name="T7" fmla="*/ 0 h 282"/>
                <a:gd name="T8" fmla="*/ 268 w 836"/>
                <a:gd name="T9" fmla="*/ 0 h 282"/>
                <a:gd name="T10" fmla="*/ 262 w 836"/>
                <a:gd name="T11" fmla="*/ 2 h 282"/>
                <a:gd name="T12" fmla="*/ 242 w 836"/>
                <a:gd name="T13" fmla="*/ 4 h 282"/>
                <a:gd name="T14" fmla="*/ 228 w 836"/>
                <a:gd name="T15" fmla="*/ 8 h 282"/>
                <a:gd name="T16" fmla="*/ 210 w 836"/>
                <a:gd name="T17" fmla="*/ 14 h 282"/>
                <a:gd name="T18" fmla="*/ 192 w 836"/>
                <a:gd name="T19" fmla="*/ 22 h 282"/>
                <a:gd name="T20" fmla="*/ 172 w 836"/>
                <a:gd name="T21" fmla="*/ 32 h 282"/>
                <a:gd name="T22" fmla="*/ 152 w 836"/>
                <a:gd name="T23" fmla="*/ 48 h 282"/>
                <a:gd name="T24" fmla="*/ 130 w 836"/>
                <a:gd name="T25" fmla="*/ 66 h 282"/>
                <a:gd name="T26" fmla="*/ 108 w 836"/>
                <a:gd name="T27" fmla="*/ 88 h 282"/>
                <a:gd name="T28" fmla="*/ 84 w 836"/>
                <a:gd name="T29" fmla="*/ 116 h 282"/>
                <a:gd name="T30" fmla="*/ 62 w 836"/>
                <a:gd name="T31" fmla="*/ 148 h 282"/>
                <a:gd name="T32" fmla="*/ 40 w 836"/>
                <a:gd name="T33" fmla="*/ 186 h 282"/>
                <a:gd name="T34" fmla="*/ 20 w 836"/>
                <a:gd name="T35" fmla="*/ 230 h 282"/>
                <a:gd name="T36" fmla="*/ 0 w 836"/>
                <a:gd name="T37" fmla="*/ 282 h 282"/>
                <a:gd name="T38" fmla="*/ 0 w 836"/>
                <a:gd name="T39"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6" h="282">
                  <a:moveTo>
                    <a:pt x="0" y="282"/>
                  </a:moveTo>
                  <a:lnTo>
                    <a:pt x="836" y="282"/>
                  </a:lnTo>
                  <a:lnTo>
                    <a:pt x="836" y="0"/>
                  </a:lnTo>
                  <a:lnTo>
                    <a:pt x="268" y="0"/>
                  </a:lnTo>
                  <a:lnTo>
                    <a:pt x="268" y="0"/>
                  </a:lnTo>
                  <a:lnTo>
                    <a:pt x="262" y="2"/>
                  </a:lnTo>
                  <a:lnTo>
                    <a:pt x="242" y="4"/>
                  </a:lnTo>
                  <a:lnTo>
                    <a:pt x="228" y="8"/>
                  </a:lnTo>
                  <a:lnTo>
                    <a:pt x="210" y="14"/>
                  </a:lnTo>
                  <a:lnTo>
                    <a:pt x="192" y="22"/>
                  </a:lnTo>
                  <a:lnTo>
                    <a:pt x="172" y="32"/>
                  </a:lnTo>
                  <a:lnTo>
                    <a:pt x="152" y="48"/>
                  </a:lnTo>
                  <a:lnTo>
                    <a:pt x="130" y="66"/>
                  </a:lnTo>
                  <a:lnTo>
                    <a:pt x="108" y="88"/>
                  </a:lnTo>
                  <a:lnTo>
                    <a:pt x="84" y="116"/>
                  </a:lnTo>
                  <a:lnTo>
                    <a:pt x="62" y="148"/>
                  </a:lnTo>
                  <a:lnTo>
                    <a:pt x="40" y="186"/>
                  </a:lnTo>
                  <a:lnTo>
                    <a:pt x="20" y="230"/>
                  </a:lnTo>
                  <a:lnTo>
                    <a:pt x="0" y="282"/>
                  </a:lnTo>
                  <a:lnTo>
                    <a:pt x="0" y="282"/>
                  </a:lnTo>
                  <a:close/>
                </a:path>
              </a:pathLst>
            </a:custGeom>
            <a:solidFill>
              <a:schemeClr val="tx2"/>
            </a:solidFill>
            <a:ln>
              <a:noFill/>
            </a:ln>
          </p:spPr>
          <p:txBody>
            <a:bodyPr vert="horz" wrap="square" lIns="96700" tIns="48350" rIns="96700" bIns="48350" numCol="1" anchor="t" anchorCtr="0" compatLnSpc="1">
              <a:prstTxWarp prst="textNoShape">
                <a:avLst/>
              </a:prstTxWarp>
            </a:bodyPr>
            <a:lstStyle/>
            <a:p>
              <a:endParaRPr lang="en-US" sz="2013" dirty="0"/>
            </a:p>
          </p:txBody>
        </p:sp>
        <p:sp>
          <p:nvSpPr>
            <p:cNvPr id="8" name="Freeform 31"/>
            <p:cNvSpPr>
              <a:spLocks/>
            </p:cNvSpPr>
            <p:nvPr/>
          </p:nvSpPr>
          <p:spPr bwMode="auto">
            <a:xfrm>
              <a:off x="3588020" y="1608986"/>
              <a:ext cx="2476337" cy="1520602"/>
            </a:xfrm>
            <a:custGeom>
              <a:avLst/>
              <a:gdLst>
                <a:gd name="T0" fmla="*/ 1962 w 1964"/>
                <a:gd name="T1" fmla="*/ 394 h 1206"/>
                <a:gd name="T2" fmla="*/ 1960 w 1964"/>
                <a:gd name="T3" fmla="*/ 384 h 1206"/>
                <a:gd name="T4" fmla="*/ 1954 w 1964"/>
                <a:gd name="T5" fmla="*/ 368 h 1206"/>
                <a:gd name="T6" fmla="*/ 1948 w 1964"/>
                <a:gd name="T7" fmla="*/ 362 h 1206"/>
                <a:gd name="T8" fmla="*/ 1932 w 1964"/>
                <a:gd name="T9" fmla="*/ 350 h 1206"/>
                <a:gd name="T10" fmla="*/ 1912 w 1964"/>
                <a:gd name="T11" fmla="*/ 346 h 1206"/>
                <a:gd name="T12" fmla="*/ 1894 w 1964"/>
                <a:gd name="T13" fmla="*/ 350 h 1206"/>
                <a:gd name="T14" fmla="*/ 1876 w 1964"/>
                <a:gd name="T15" fmla="*/ 360 h 1206"/>
                <a:gd name="T16" fmla="*/ 1738 w 1964"/>
                <a:gd name="T17" fmla="*/ 410 h 1206"/>
                <a:gd name="T18" fmla="*/ 1444 w 1964"/>
                <a:gd name="T19" fmla="*/ 116 h 1206"/>
                <a:gd name="T20" fmla="*/ 1402 w 1964"/>
                <a:gd name="T21" fmla="*/ 76 h 1206"/>
                <a:gd name="T22" fmla="*/ 1356 w 1964"/>
                <a:gd name="T23" fmla="*/ 40 h 1206"/>
                <a:gd name="T24" fmla="*/ 1310 w 1964"/>
                <a:gd name="T25" fmla="*/ 14 h 1206"/>
                <a:gd name="T26" fmla="*/ 1276 w 1964"/>
                <a:gd name="T27" fmla="*/ 4 h 1206"/>
                <a:gd name="T28" fmla="*/ 1264 w 1964"/>
                <a:gd name="T29" fmla="*/ 4 h 1206"/>
                <a:gd name="T30" fmla="*/ 334 w 1964"/>
                <a:gd name="T31" fmla="*/ 0 h 1206"/>
                <a:gd name="T32" fmla="*/ 138 w 1964"/>
                <a:gd name="T33" fmla="*/ 2 h 1206"/>
                <a:gd name="T34" fmla="*/ 114 w 1964"/>
                <a:gd name="T35" fmla="*/ 4 h 1206"/>
                <a:gd name="T36" fmla="*/ 74 w 1964"/>
                <a:gd name="T37" fmla="*/ 12 h 1206"/>
                <a:gd name="T38" fmla="*/ 42 w 1964"/>
                <a:gd name="T39" fmla="*/ 26 h 1206"/>
                <a:gd name="T40" fmla="*/ 0 w 1964"/>
                <a:gd name="T41" fmla="*/ 52 h 1206"/>
                <a:gd name="T42" fmla="*/ 16 w 1964"/>
                <a:gd name="T43" fmla="*/ 44 h 1206"/>
                <a:gd name="T44" fmla="*/ 54 w 1964"/>
                <a:gd name="T45" fmla="*/ 30 h 1206"/>
                <a:gd name="T46" fmla="*/ 92 w 1964"/>
                <a:gd name="T47" fmla="*/ 26 h 1206"/>
                <a:gd name="T48" fmla="*/ 132 w 1964"/>
                <a:gd name="T49" fmla="*/ 28 h 1206"/>
                <a:gd name="T50" fmla="*/ 172 w 1964"/>
                <a:gd name="T51" fmla="*/ 38 h 1206"/>
                <a:gd name="T52" fmla="*/ 214 w 1964"/>
                <a:gd name="T53" fmla="*/ 54 h 1206"/>
                <a:gd name="T54" fmla="*/ 256 w 1964"/>
                <a:gd name="T55" fmla="*/ 80 h 1206"/>
                <a:gd name="T56" fmla="*/ 298 w 1964"/>
                <a:gd name="T57" fmla="*/ 112 h 1206"/>
                <a:gd name="T58" fmla="*/ 1212 w 1964"/>
                <a:gd name="T59" fmla="*/ 1026 h 1206"/>
                <a:gd name="T60" fmla="*/ 1120 w 1964"/>
                <a:gd name="T61" fmla="*/ 1118 h 1206"/>
                <a:gd name="T62" fmla="*/ 1108 w 1964"/>
                <a:gd name="T63" fmla="*/ 1136 h 1206"/>
                <a:gd name="T64" fmla="*/ 1104 w 1964"/>
                <a:gd name="T65" fmla="*/ 1154 h 1206"/>
                <a:gd name="T66" fmla="*/ 1108 w 1964"/>
                <a:gd name="T67" fmla="*/ 1174 h 1206"/>
                <a:gd name="T68" fmla="*/ 1118 w 1964"/>
                <a:gd name="T69" fmla="*/ 1190 h 1206"/>
                <a:gd name="T70" fmla="*/ 1126 w 1964"/>
                <a:gd name="T71" fmla="*/ 1194 h 1206"/>
                <a:gd name="T72" fmla="*/ 1142 w 1964"/>
                <a:gd name="T73" fmla="*/ 1202 h 1206"/>
                <a:gd name="T74" fmla="*/ 1874 w 1964"/>
                <a:gd name="T75" fmla="*/ 1206 h 1206"/>
                <a:gd name="T76" fmla="*/ 1892 w 1964"/>
                <a:gd name="T77" fmla="*/ 1206 h 1206"/>
                <a:gd name="T78" fmla="*/ 1926 w 1964"/>
                <a:gd name="T79" fmla="*/ 1194 h 1206"/>
                <a:gd name="T80" fmla="*/ 1940 w 1964"/>
                <a:gd name="T81" fmla="*/ 1182 h 1206"/>
                <a:gd name="T82" fmla="*/ 1960 w 1964"/>
                <a:gd name="T83" fmla="*/ 1152 h 1206"/>
                <a:gd name="T84" fmla="*/ 1964 w 1964"/>
                <a:gd name="T85" fmla="*/ 1116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64" h="1206">
                  <a:moveTo>
                    <a:pt x="1964" y="1116"/>
                  </a:moveTo>
                  <a:lnTo>
                    <a:pt x="1962" y="394"/>
                  </a:lnTo>
                  <a:lnTo>
                    <a:pt x="1962" y="394"/>
                  </a:lnTo>
                  <a:lnTo>
                    <a:pt x="1960" y="384"/>
                  </a:lnTo>
                  <a:lnTo>
                    <a:pt x="1958" y="376"/>
                  </a:lnTo>
                  <a:lnTo>
                    <a:pt x="1954" y="368"/>
                  </a:lnTo>
                  <a:lnTo>
                    <a:pt x="1948" y="362"/>
                  </a:lnTo>
                  <a:lnTo>
                    <a:pt x="1948" y="362"/>
                  </a:lnTo>
                  <a:lnTo>
                    <a:pt x="1940" y="354"/>
                  </a:lnTo>
                  <a:lnTo>
                    <a:pt x="1932" y="350"/>
                  </a:lnTo>
                  <a:lnTo>
                    <a:pt x="1922" y="348"/>
                  </a:lnTo>
                  <a:lnTo>
                    <a:pt x="1912" y="346"/>
                  </a:lnTo>
                  <a:lnTo>
                    <a:pt x="1904" y="348"/>
                  </a:lnTo>
                  <a:lnTo>
                    <a:pt x="1894" y="350"/>
                  </a:lnTo>
                  <a:lnTo>
                    <a:pt x="1884" y="354"/>
                  </a:lnTo>
                  <a:lnTo>
                    <a:pt x="1876" y="360"/>
                  </a:lnTo>
                  <a:lnTo>
                    <a:pt x="1782" y="456"/>
                  </a:lnTo>
                  <a:lnTo>
                    <a:pt x="1738" y="410"/>
                  </a:lnTo>
                  <a:lnTo>
                    <a:pt x="1738" y="410"/>
                  </a:lnTo>
                  <a:lnTo>
                    <a:pt x="1444" y="116"/>
                  </a:lnTo>
                  <a:lnTo>
                    <a:pt x="1444" y="116"/>
                  </a:lnTo>
                  <a:lnTo>
                    <a:pt x="1402" y="76"/>
                  </a:lnTo>
                  <a:lnTo>
                    <a:pt x="1380" y="58"/>
                  </a:lnTo>
                  <a:lnTo>
                    <a:pt x="1356" y="40"/>
                  </a:lnTo>
                  <a:lnTo>
                    <a:pt x="1332" y="26"/>
                  </a:lnTo>
                  <a:lnTo>
                    <a:pt x="1310" y="14"/>
                  </a:lnTo>
                  <a:lnTo>
                    <a:pt x="1286" y="6"/>
                  </a:lnTo>
                  <a:lnTo>
                    <a:pt x="1276" y="4"/>
                  </a:lnTo>
                  <a:lnTo>
                    <a:pt x="1264" y="4"/>
                  </a:lnTo>
                  <a:lnTo>
                    <a:pt x="1264" y="4"/>
                  </a:lnTo>
                  <a:lnTo>
                    <a:pt x="716" y="2"/>
                  </a:lnTo>
                  <a:lnTo>
                    <a:pt x="334" y="0"/>
                  </a:lnTo>
                  <a:lnTo>
                    <a:pt x="200" y="0"/>
                  </a:lnTo>
                  <a:lnTo>
                    <a:pt x="138" y="2"/>
                  </a:lnTo>
                  <a:lnTo>
                    <a:pt x="138" y="2"/>
                  </a:lnTo>
                  <a:lnTo>
                    <a:pt x="114" y="4"/>
                  </a:lnTo>
                  <a:lnTo>
                    <a:pt x="92" y="8"/>
                  </a:lnTo>
                  <a:lnTo>
                    <a:pt x="74" y="12"/>
                  </a:lnTo>
                  <a:lnTo>
                    <a:pt x="58" y="18"/>
                  </a:lnTo>
                  <a:lnTo>
                    <a:pt x="42" y="26"/>
                  </a:lnTo>
                  <a:lnTo>
                    <a:pt x="28" y="34"/>
                  </a:lnTo>
                  <a:lnTo>
                    <a:pt x="0" y="52"/>
                  </a:lnTo>
                  <a:lnTo>
                    <a:pt x="0" y="52"/>
                  </a:lnTo>
                  <a:lnTo>
                    <a:pt x="16" y="44"/>
                  </a:lnTo>
                  <a:lnTo>
                    <a:pt x="36" y="36"/>
                  </a:lnTo>
                  <a:lnTo>
                    <a:pt x="54" y="30"/>
                  </a:lnTo>
                  <a:lnTo>
                    <a:pt x="74" y="28"/>
                  </a:lnTo>
                  <a:lnTo>
                    <a:pt x="92" y="26"/>
                  </a:lnTo>
                  <a:lnTo>
                    <a:pt x="112" y="26"/>
                  </a:lnTo>
                  <a:lnTo>
                    <a:pt x="132" y="28"/>
                  </a:lnTo>
                  <a:lnTo>
                    <a:pt x="152" y="32"/>
                  </a:lnTo>
                  <a:lnTo>
                    <a:pt x="172" y="38"/>
                  </a:lnTo>
                  <a:lnTo>
                    <a:pt x="194" y="44"/>
                  </a:lnTo>
                  <a:lnTo>
                    <a:pt x="214" y="54"/>
                  </a:lnTo>
                  <a:lnTo>
                    <a:pt x="234" y="66"/>
                  </a:lnTo>
                  <a:lnTo>
                    <a:pt x="256" y="80"/>
                  </a:lnTo>
                  <a:lnTo>
                    <a:pt x="276" y="94"/>
                  </a:lnTo>
                  <a:lnTo>
                    <a:pt x="298" y="112"/>
                  </a:lnTo>
                  <a:lnTo>
                    <a:pt x="318" y="132"/>
                  </a:lnTo>
                  <a:lnTo>
                    <a:pt x="1212" y="1026"/>
                  </a:lnTo>
                  <a:lnTo>
                    <a:pt x="1120" y="1118"/>
                  </a:lnTo>
                  <a:lnTo>
                    <a:pt x="1120" y="1118"/>
                  </a:lnTo>
                  <a:lnTo>
                    <a:pt x="1114" y="1126"/>
                  </a:lnTo>
                  <a:lnTo>
                    <a:pt x="1108" y="1136"/>
                  </a:lnTo>
                  <a:lnTo>
                    <a:pt x="1106" y="1146"/>
                  </a:lnTo>
                  <a:lnTo>
                    <a:pt x="1104" y="1154"/>
                  </a:lnTo>
                  <a:lnTo>
                    <a:pt x="1106" y="1164"/>
                  </a:lnTo>
                  <a:lnTo>
                    <a:pt x="1108" y="1174"/>
                  </a:lnTo>
                  <a:lnTo>
                    <a:pt x="1112" y="1182"/>
                  </a:lnTo>
                  <a:lnTo>
                    <a:pt x="1118" y="1190"/>
                  </a:lnTo>
                  <a:lnTo>
                    <a:pt x="1118" y="1190"/>
                  </a:lnTo>
                  <a:lnTo>
                    <a:pt x="1126" y="1194"/>
                  </a:lnTo>
                  <a:lnTo>
                    <a:pt x="1134" y="1200"/>
                  </a:lnTo>
                  <a:lnTo>
                    <a:pt x="1142" y="1202"/>
                  </a:lnTo>
                  <a:lnTo>
                    <a:pt x="1152" y="1204"/>
                  </a:lnTo>
                  <a:lnTo>
                    <a:pt x="1874" y="1206"/>
                  </a:lnTo>
                  <a:lnTo>
                    <a:pt x="1874" y="1206"/>
                  </a:lnTo>
                  <a:lnTo>
                    <a:pt x="1892" y="1206"/>
                  </a:lnTo>
                  <a:lnTo>
                    <a:pt x="1910" y="1202"/>
                  </a:lnTo>
                  <a:lnTo>
                    <a:pt x="1926" y="1194"/>
                  </a:lnTo>
                  <a:lnTo>
                    <a:pt x="1940" y="1182"/>
                  </a:lnTo>
                  <a:lnTo>
                    <a:pt x="1940" y="1182"/>
                  </a:lnTo>
                  <a:lnTo>
                    <a:pt x="1952" y="1168"/>
                  </a:lnTo>
                  <a:lnTo>
                    <a:pt x="1960" y="1152"/>
                  </a:lnTo>
                  <a:lnTo>
                    <a:pt x="1964" y="1134"/>
                  </a:lnTo>
                  <a:lnTo>
                    <a:pt x="1964" y="1116"/>
                  </a:lnTo>
                  <a:lnTo>
                    <a:pt x="1964" y="1116"/>
                  </a:lnTo>
                  <a:close/>
                </a:path>
              </a:pathLst>
            </a:custGeom>
            <a:solidFill>
              <a:schemeClr val="bg2"/>
            </a:solidFill>
            <a:ln>
              <a:noFill/>
            </a:ln>
          </p:spPr>
          <p:txBody>
            <a:bodyPr vert="horz" wrap="square" lIns="96700" tIns="48350" rIns="96700" bIns="48350" numCol="1" anchor="t" anchorCtr="0" compatLnSpc="1">
              <a:prstTxWarp prst="textNoShape">
                <a:avLst/>
              </a:prstTxWarp>
            </a:bodyPr>
            <a:lstStyle/>
            <a:p>
              <a:endParaRPr lang="en-US" sz="2013" dirty="0"/>
            </a:p>
          </p:txBody>
        </p:sp>
      </p:grpSp>
      <p:sp>
        <p:nvSpPr>
          <p:cNvPr id="9" name="Rectangle 8"/>
          <p:cNvSpPr/>
          <p:nvPr/>
        </p:nvSpPr>
        <p:spPr>
          <a:xfrm rot="2677252">
            <a:off x="4330700" y="2081213"/>
            <a:ext cx="1641475" cy="260350"/>
          </a:xfrm>
          <a:prstGeom prst="rect">
            <a:avLst/>
          </a:prstGeom>
        </p:spPr>
        <p:txBody>
          <a:bodyPr wrap="square">
            <a:spAutoFit/>
          </a:bodyPr>
          <a:lstStyle/>
          <a:p>
            <a:pPr algn="r"/>
            <a:r>
              <a:rPr lang="en-US" sz="1100" b="1" dirty="0">
                <a:solidFill>
                  <a:schemeClr val="accent5"/>
                </a:solidFill>
              </a:rPr>
              <a:t>Experts</a:t>
            </a:r>
            <a:endParaRPr lang="en-US" sz="1100" dirty="0">
              <a:solidFill>
                <a:schemeClr val="accent5"/>
              </a:solidFill>
            </a:endParaRPr>
          </a:p>
        </p:txBody>
      </p:sp>
      <p:grpSp>
        <p:nvGrpSpPr>
          <p:cNvPr id="18" name="Group 17"/>
          <p:cNvGrpSpPr/>
          <p:nvPr/>
        </p:nvGrpSpPr>
        <p:grpSpPr>
          <a:xfrm>
            <a:off x="6138954" y="4471146"/>
            <a:ext cx="2685636" cy="1520602"/>
            <a:chOff x="6138954" y="4471146"/>
            <a:chExt cx="2685636" cy="1520602"/>
          </a:xfrm>
        </p:grpSpPr>
        <p:sp>
          <p:nvSpPr>
            <p:cNvPr id="11" name="Freeform 32"/>
            <p:cNvSpPr>
              <a:spLocks/>
            </p:cNvSpPr>
            <p:nvPr/>
          </p:nvSpPr>
          <p:spPr bwMode="auto">
            <a:xfrm>
              <a:off x="7770508" y="5610970"/>
              <a:ext cx="1054082" cy="353042"/>
            </a:xfrm>
            <a:custGeom>
              <a:avLst/>
              <a:gdLst>
                <a:gd name="T0" fmla="*/ 836 w 836"/>
                <a:gd name="T1" fmla="*/ 0 h 280"/>
                <a:gd name="T2" fmla="*/ 0 w 836"/>
                <a:gd name="T3" fmla="*/ 0 h 280"/>
                <a:gd name="T4" fmla="*/ 0 w 836"/>
                <a:gd name="T5" fmla="*/ 280 h 280"/>
                <a:gd name="T6" fmla="*/ 566 w 836"/>
                <a:gd name="T7" fmla="*/ 280 h 280"/>
                <a:gd name="T8" fmla="*/ 566 w 836"/>
                <a:gd name="T9" fmla="*/ 280 h 280"/>
                <a:gd name="T10" fmla="*/ 574 w 836"/>
                <a:gd name="T11" fmla="*/ 280 h 280"/>
                <a:gd name="T12" fmla="*/ 594 w 836"/>
                <a:gd name="T13" fmla="*/ 276 h 280"/>
                <a:gd name="T14" fmla="*/ 608 w 836"/>
                <a:gd name="T15" fmla="*/ 274 h 280"/>
                <a:gd name="T16" fmla="*/ 624 w 836"/>
                <a:gd name="T17" fmla="*/ 268 h 280"/>
                <a:gd name="T18" fmla="*/ 644 w 836"/>
                <a:gd name="T19" fmla="*/ 260 h 280"/>
                <a:gd name="T20" fmla="*/ 662 w 836"/>
                <a:gd name="T21" fmla="*/ 248 h 280"/>
                <a:gd name="T22" fmla="*/ 684 w 836"/>
                <a:gd name="T23" fmla="*/ 234 h 280"/>
                <a:gd name="T24" fmla="*/ 706 w 836"/>
                <a:gd name="T25" fmla="*/ 216 h 280"/>
                <a:gd name="T26" fmla="*/ 728 w 836"/>
                <a:gd name="T27" fmla="*/ 192 h 280"/>
                <a:gd name="T28" fmla="*/ 750 w 836"/>
                <a:gd name="T29" fmla="*/ 166 h 280"/>
                <a:gd name="T30" fmla="*/ 774 w 836"/>
                <a:gd name="T31" fmla="*/ 132 h 280"/>
                <a:gd name="T32" fmla="*/ 796 w 836"/>
                <a:gd name="T33" fmla="*/ 94 h 280"/>
                <a:gd name="T34" fmla="*/ 816 w 836"/>
                <a:gd name="T35" fmla="*/ 50 h 280"/>
                <a:gd name="T36" fmla="*/ 836 w 836"/>
                <a:gd name="T37" fmla="*/ 0 h 280"/>
                <a:gd name="T38" fmla="*/ 836 w 836"/>
                <a:gd name="T39"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6" h="280">
                  <a:moveTo>
                    <a:pt x="836" y="0"/>
                  </a:moveTo>
                  <a:lnTo>
                    <a:pt x="0" y="0"/>
                  </a:lnTo>
                  <a:lnTo>
                    <a:pt x="0" y="280"/>
                  </a:lnTo>
                  <a:lnTo>
                    <a:pt x="566" y="280"/>
                  </a:lnTo>
                  <a:lnTo>
                    <a:pt x="566" y="280"/>
                  </a:lnTo>
                  <a:lnTo>
                    <a:pt x="574" y="280"/>
                  </a:lnTo>
                  <a:lnTo>
                    <a:pt x="594" y="276"/>
                  </a:lnTo>
                  <a:lnTo>
                    <a:pt x="608" y="274"/>
                  </a:lnTo>
                  <a:lnTo>
                    <a:pt x="624" y="268"/>
                  </a:lnTo>
                  <a:lnTo>
                    <a:pt x="644" y="260"/>
                  </a:lnTo>
                  <a:lnTo>
                    <a:pt x="662" y="248"/>
                  </a:lnTo>
                  <a:lnTo>
                    <a:pt x="684" y="234"/>
                  </a:lnTo>
                  <a:lnTo>
                    <a:pt x="706" y="216"/>
                  </a:lnTo>
                  <a:lnTo>
                    <a:pt x="728" y="192"/>
                  </a:lnTo>
                  <a:lnTo>
                    <a:pt x="750" y="166"/>
                  </a:lnTo>
                  <a:lnTo>
                    <a:pt x="774" y="132"/>
                  </a:lnTo>
                  <a:lnTo>
                    <a:pt x="796" y="94"/>
                  </a:lnTo>
                  <a:lnTo>
                    <a:pt x="816" y="50"/>
                  </a:lnTo>
                  <a:lnTo>
                    <a:pt x="836" y="0"/>
                  </a:lnTo>
                  <a:lnTo>
                    <a:pt x="836" y="0"/>
                  </a:lnTo>
                  <a:close/>
                </a:path>
              </a:pathLst>
            </a:custGeom>
            <a:solidFill>
              <a:schemeClr val="tx2"/>
            </a:solidFill>
            <a:ln>
              <a:noFill/>
            </a:ln>
          </p:spPr>
          <p:txBody>
            <a:bodyPr vert="horz" wrap="square" lIns="96700" tIns="48350" rIns="96700" bIns="48350" numCol="1" anchor="t" anchorCtr="0" compatLnSpc="1">
              <a:prstTxWarp prst="textNoShape">
                <a:avLst/>
              </a:prstTxWarp>
            </a:bodyPr>
            <a:lstStyle/>
            <a:p>
              <a:endParaRPr lang="en-US" sz="2013" dirty="0"/>
            </a:p>
          </p:txBody>
        </p:sp>
        <p:sp>
          <p:nvSpPr>
            <p:cNvPr id="12" name="Freeform 35"/>
            <p:cNvSpPr>
              <a:spLocks/>
            </p:cNvSpPr>
            <p:nvPr/>
          </p:nvSpPr>
          <p:spPr bwMode="auto">
            <a:xfrm>
              <a:off x="6138954" y="4471146"/>
              <a:ext cx="2476337" cy="1520602"/>
            </a:xfrm>
            <a:custGeom>
              <a:avLst/>
              <a:gdLst>
                <a:gd name="T0" fmla="*/ 2 w 1964"/>
                <a:gd name="T1" fmla="*/ 812 h 1206"/>
                <a:gd name="T2" fmla="*/ 4 w 1964"/>
                <a:gd name="T3" fmla="*/ 820 h 1206"/>
                <a:gd name="T4" fmla="*/ 10 w 1964"/>
                <a:gd name="T5" fmla="*/ 838 h 1206"/>
                <a:gd name="T6" fmla="*/ 16 w 1964"/>
                <a:gd name="T7" fmla="*/ 844 h 1206"/>
                <a:gd name="T8" fmla="*/ 32 w 1964"/>
                <a:gd name="T9" fmla="*/ 854 h 1206"/>
                <a:gd name="T10" fmla="*/ 52 w 1964"/>
                <a:gd name="T11" fmla="*/ 858 h 1206"/>
                <a:gd name="T12" fmla="*/ 70 w 1964"/>
                <a:gd name="T13" fmla="*/ 854 h 1206"/>
                <a:gd name="T14" fmla="*/ 88 w 1964"/>
                <a:gd name="T15" fmla="*/ 844 h 1206"/>
                <a:gd name="T16" fmla="*/ 226 w 1964"/>
                <a:gd name="T17" fmla="*/ 794 h 1206"/>
                <a:gd name="T18" fmla="*/ 520 w 1964"/>
                <a:gd name="T19" fmla="*/ 1090 h 1206"/>
                <a:gd name="T20" fmla="*/ 562 w 1964"/>
                <a:gd name="T21" fmla="*/ 1128 h 1206"/>
                <a:gd name="T22" fmla="*/ 608 w 1964"/>
                <a:gd name="T23" fmla="*/ 1164 h 1206"/>
                <a:gd name="T24" fmla="*/ 654 w 1964"/>
                <a:gd name="T25" fmla="*/ 1190 h 1206"/>
                <a:gd name="T26" fmla="*/ 688 w 1964"/>
                <a:gd name="T27" fmla="*/ 1200 h 1206"/>
                <a:gd name="T28" fmla="*/ 700 w 1964"/>
                <a:gd name="T29" fmla="*/ 1202 h 1206"/>
                <a:gd name="T30" fmla="*/ 1630 w 1964"/>
                <a:gd name="T31" fmla="*/ 1206 h 1206"/>
                <a:gd name="T32" fmla="*/ 1826 w 1964"/>
                <a:gd name="T33" fmla="*/ 1204 h 1206"/>
                <a:gd name="T34" fmla="*/ 1850 w 1964"/>
                <a:gd name="T35" fmla="*/ 1202 h 1206"/>
                <a:gd name="T36" fmla="*/ 1890 w 1964"/>
                <a:gd name="T37" fmla="*/ 1192 h 1206"/>
                <a:gd name="T38" fmla="*/ 1922 w 1964"/>
                <a:gd name="T39" fmla="*/ 1180 h 1206"/>
                <a:gd name="T40" fmla="*/ 1964 w 1964"/>
                <a:gd name="T41" fmla="*/ 1154 h 1206"/>
                <a:gd name="T42" fmla="*/ 1946 w 1964"/>
                <a:gd name="T43" fmla="*/ 1162 h 1206"/>
                <a:gd name="T44" fmla="*/ 1910 w 1964"/>
                <a:gd name="T45" fmla="*/ 1174 h 1206"/>
                <a:gd name="T46" fmla="*/ 1872 w 1964"/>
                <a:gd name="T47" fmla="*/ 1180 h 1206"/>
                <a:gd name="T48" fmla="*/ 1832 w 1964"/>
                <a:gd name="T49" fmla="*/ 1178 h 1206"/>
                <a:gd name="T50" fmla="*/ 1792 w 1964"/>
                <a:gd name="T51" fmla="*/ 1168 h 1206"/>
                <a:gd name="T52" fmla="*/ 1750 w 1964"/>
                <a:gd name="T53" fmla="*/ 1150 h 1206"/>
                <a:gd name="T54" fmla="*/ 1708 w 1964"/>
                <a:gd name="T55" fmla="*/ 1126 h 1206"/>
                <a:gd name="T56" fmla="*/ 1666 w 1964"/>
                <a:gd name="T57" fmla="*/ 1092 h 1206"/>
                <a:gd name="T58" fmla="*/ 752 w 1964"/>
                <a:gd name="T59" fmla="*/ 178 h 1206"/>
                <a:gd name="T60" fmla="*/ 844 w 1964"/>
                <a:gd name="T61" fmla="*/ 86 h 1206"/>
                <a:gd name="T62" fmla="*/ 856 w 1964"/>
                <a:gd name="T63" fmla="*/ 70 h 1206"/>
                <a:gd name="T64" fmla="*/ 860 w 1964"/>
                <a:gd name="T65" fmla="*/ 50 h 1206"/>
                <a:gd name="T66" fmla="*/ 856 w 1964"/>
                <a:gd name="T67" fmla="*/ 32 h 1206"/>
                <a:gd name="T68" fmla="*/ 846 w 1964"/>
                <a:gd name="T69" fmla="*/ 16 h 1206"/>
                <a:gd name="T70" fmla="*/ 838 w 1964"/>
                <a:gd name="T71" fmla="*/ 10 h 1206"/>
                <a:gd name="T72" fmla="*/ 822 w 1964"/>
                <a:gd name="T73" fmla="*/ 2 h 1206"/>
                <a:gd name="T74" fmla="*/ 90 w 1964"/>
                <a:gd name="T75" fmla="*/ 0 h 1206"/>
                <a:gd name="T76" fmla="*/ 72 w 1964"/>
                <a:gd name="T77" fmla="*/ 0 h 1206"/>
                <a:gd name="T78" fmla="*/ 38 w 1964"/>
                <a:gd name="T79" fmla="*/ 12 h 1206"/>
                <a:gd name="T80" fmla="*/ 24 w 1964"/>
                <a:gd name="T81" fmla="*/ 22 h 1206"/>
                <a:gd name="T82" fmla="*/ 4 w 1964"/>
                <a:gd name="T83" fmla="*/ 52 h 1206"/>
                <a:gd name="T84" fmla="*/ 0 w 1964"/>
                <a:gd name="T85" fmla="*/ 90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64" h="1206">
                  <a:moveTo>
                    <a:pt x="0" y="90"/>
                  </a:moveTo>
                  <a:lnTo>
                    <a:pt x="2" y="812"/>
                  </a:lnTo>
                  <a:lnTo>
                    <a:pt x="2" y="812"/>
                  </a:lnTo>
                  <a:lnTo>
                    <a:pt x="4" y="820"/>
                  </a:lnTo>
                  <a:lnTo>
                    <a:pt x="6" y="830"/>
                  </a:lnTo>
                  <a:lnTo>
                    <a:pt x="10" y="838"/>
                  </a:lnTo>
                  <a:lnTo>
                    <a:pt x="16" y="844"/>
                  </a:lnTo>
                  <a:lnTo>
                    <a:pt x="16" y="844"/>
                  </a:lnTo>
                  <a:lnTo>
                    <a:pt x="24" y="850"/>
                  </a:lnTo>
                  <a:lnTo>
                    <a:pt x="32" y="854"/>
                  </a:lnTo>
                  <a:lnTo>
                    <a:pt x="42" y="858"/>
                  </a:lnTo>
                  <a:lnTo>
                    <a:pt x="52" y="858"/>
                  </a:lnTo>
                  <a:lnTo>
                    <a:pt x="60" y="858"/>
                  </a:lnTo>
                  <a:lnTo>
                    <a:pt x="70" y="854"/>
                  </a:lnTo>
                  <a:lnTo>
                    <a:pt x="80" y="850"/>
                  </a:lnTo>
                  <a:lnTo>
                    <a:pt x="88" y="844"/>
                  </a:lnTo>
                  <a:lnTo>
                    <a:pt x="180" y="750"/>
                  </a:lnTo>
                  <a:lnTo>
                    <a:pt x="226" y="794"/>
                  </a:lnTo>
                  <a:lnTo>
                    <a:pt x="226" y="794"/>
                  </a:lnTo>
                  <a:lnTo>
                    <a:pt x="520" y="1090"/>
                  </a:lnTo>
                  <a:lnTo>
                    <a:pt x="520" y="1090"/>
                  </a:lnTo>
                  <a:lnTo>
                    <a:pt x="562" y="1128"/>
                  </a:lnTo>
                  <a:lnTo>
                    <a:pt x="584" y="1148"/>
                  </a:lnTo>
                  <a:lnTo>
                    <a:pt x="608" y="1164"/>
                  </a:lnTo>
                  <a:lnTo>
                    <a:pt x="632" y="1180"/>
                  </a:lnTo>
                  <a:lnTo>
                    <a:pt x="654" y="1190"/>
                  </a:lnTo>
                  <a:lnTo>
                    <a:pt x="678" y="1198"/>
                  </a:lnTo>
                  <a:lnTo>
                    <a:pt x="688" y="1200"/>
                  </a:lnTo>
                  <a:lnTo>
                    <a:pt x="700" y="1202"/>
                  </a:lnTo>
                  <a:lnTo>
                    <a:pt x="700" y="1202"/>
                  </a:lnTo>
                  <a:lnTo>
                    <a:pt x="1248" y="1204"/>
                  </a:lnTo>
                  <a:lnTo>
                    <a:pt x="1630" y="1206"/>
                  </a:lnTo>
                  <a:lnTo>
                    <a:pt x="1764" y="1204"/>
                  </a:lnTo>
                  <a:lnTo>
                    <a:pt x="1826" y="1204"/>
                  </a:lnTo>
                  <a:lnTo>
                    <a:pt x="1826" y="1204"/>
                  </a:lnTo>
                  <a:lnTo>
                    <a:pt x="1850" y="1202"/>
                  </a:lnTo>
                  <a:lnTo>
                    <a:pt x="1872" y="1198"/>
                  </a:lnTo>
                  <a:lnTo>
                    <a:pt x="1890" y="1192"/>
                  </a:lnTo>
                  <a:lnTo>
                    <a:pt x="1906" y="1186"/>
                  </a:lnTo>
                  <a:lnTo>
                    <a:pt x="1922" y="1180"/>
                  </a:lnTo>
                  <a:lnTo>
                    <a:pt x="1936" y="1172"/>
                  </a:lnTo>
                  <a:lnTo>
                    <a:pt x="1964" y="1154"/>
                  </a:lnTo>
                  <a:lnTo>
                    <a:pt x="1964" y="1154"/>
                  </a:lnTo>
                  <a:lnTo>
                    <a:pt x="1946" y="1162"/>
                  </a:lnTo>
                  <a:lnTo>
                    <a:pt x="1928" y="1168"/>
                  </a:lnTo>
                  <a:lnTo>
                    <a:pt x="1910" y="1174"/>
                  </a:lnTo>
                  <a:lnTo>
                    <a:pt x="1890" y="1178"/>
                  </a:lnTo>
                  <a:lnTo>
                    <a:pt x="1872" y="1180"/>
                  </a:lnTo>
                  <a:lnTo>
                    <a:pt x="1852" y="1180"/>
                  </a:lnTo>
                  <a:lnTo>
                    <a:pt x="1832" y="1178"/>
                  </a:lnTo>
                  <a:lnTo>
                    <a:pt x="1812" y="1174"/>
                  </a:lnTo>
                  <a:lnTo>
                    <a:pt x="1792" y="1168"/>
                  </a:lnTo>
                  <a:lnTo>
                    <a:pt x="1770" y="1160"/>
                  </a:lnTo>
                  <a:lnTo>
                    <a:pt x="1750" y="1150"/>
                  </a:lnTo>
                  <a:lnTo>
                    <a:pt x="1730" y="1140"/>
                  </a:lnTo>
                  <a:lnTo>
                    <a:pt x="1708" y="1126"/>
                  </a:lnTo>
                  <a:lnTo>
                    <a:pt x="1688" y="1110"/>
                  </a:lnTo>
                  <a:lnTo>
                    <a:pt x="1666" y="1092"/>
                  </a:lnTo>
                  <a:lnTo>
                    <a:pt x="1646" y="1074"/>
                  </a:lnTo>
                  <a:lnTo>
                    <a:pt x="752" y="178"/>
                  </a:lnTo>
                  <a:lnTo>
                    <a:pt x="844" y="86"/>
                  </a:lnTo>
                  <a:lnTo>
                    <a:pt x="844" y="86"/>
                  </a:lnTo>
                  <a:lnTo>
                    <a:pt x="850" y="78"/>
                  </a:lnTo>
                  <a:lnTo>
                    <a:pt x="856" y="70"/>
                  </a:lnTo>
                  <a:lnTo>
                    <a:pt x="858" y="60"/>
                  </a:lnTo>
                  <a:lnTo>
                    <a:pt x="860" y="50"/>
                  </a:lnTo>
                  <a:lnTo>
                    <a:pt x="858" y="42"/>
                  </a:lnTo>
                  <a:lnTo>
                    <a:pt x="856" y="32"/>
                  </a:lnTo>
                  <a:lnTo>
                    <a:pt x="852" y="24"/>
                  </a:lnTo>
                  <a:lnTo>
                    <a:pt x="846" y="16"/>
                  </a:lnTo>
                  <a:lnTo>
                    <a:pt x="846" y="16"/>
                  </a:lnTo>
                  <a:lnTo>
                    <a:pt x="838" y="10"/>
                  </a:lnTo>
                  <a:lnTo>
                    <a:pt x="830" y="6"/>
                  </a:lnTo>
                  <a:lnTo>
                    <a:pt x="822" y="2"/>
                  </a:lnTo>
                  <a:lnTo>
                    <a:pt x="812" y="2"/>
                  </a:lnTo>
                  <a:lnTo>
                    <a:pt x="90" y="0"/>
                  </a:lnTo>
                  <a:lnTo>
                    <a:pt x="90" y="0"/>
                  </a:lnTo>
                  <a:lnTo>
                    <a:pt x="72" y="0"/>
                  </a:lnTo>
                  <a:lnTo>
                    <a:pt x="54" y="4"/>
                  </a:lnTo>
                  <a:lnTo>
                    <a:pt x="38" y="12"/>
                  </a:lnTo>
                  <a:lnTo>
                    <a:pt x="24" y="22"/>
                  </a:lnTo>
                  <a:lnTo>
                    <a:pt x="24" y="22"/>
                  </a:lnTo>
                  <a:lnTo>
                    <a:pt x="12" y="36"/>
                  </a:lnTo>
                  <a:lnTo>
                    <a:pt x="4" y="52"/>
                  </a:lnTo>
                  <a:lnTo>
                    <a:pt x="0" y="70"/>
                  </a:lnTo>
                  <a:lnTo>
                    <a:pt x="0" y="90"/>
                  </a:lnTo>
                  <a:lnTo>
                    <a:pt x="0" y="90"/>
                  </a:lnTo>
                  <a:close/>
                </a:path>
              </a:pathLst>
            </a:custGeom>
            <a:solidFill>
              <a:schemeClr val="bg2"/>
            </a:solidFill>
            <a:ln>
              <a:noFill/>
            </a:ln>
          </p:spPr>
          <p:txBody>
            <a:bodyPr vert="horz" wrap="square" lIns="96700" tIns="48350" rIns="96700" bIns="48350" numCol="1" anchor="t" anchorCtr="0" compatLnSpc="1">
              <a:prstTxWarp prst="textNoShape">
                <a:avLst/>
              </a:prstTxWarp>
            </a:bodyPr>
            <a:lstStyle/>
            <a:p>
              <a:endParaRPr lang="en-US" sz="2013" dirty="0"/>
            </a:p>
          </p:txBody>
        </p:sp>
      </p:grpSp>
      <p:sp>
        <p:nvSpPr>
          <p:cNvPr id="13" name="Rectangle 12"/>
          <p:cNvSpPr/>
          <p:nvPr/>
        </p:nvSpPr>
        <p:spPr>
          <a:xfrm rot="2623787">
            <a:off x="6245225" y="5275263"/>
            <a:ext cx="1641140" cy="260350"/>
          </a:xfrm>
          <a:prstGeom prst="rect">
            <a:avLst/>
          </a:prstGeom>
        </p:spPr>
        <p:txBody>
          <a:bodyPr wrap="square">
            <a:spAutoFit/>
          </a:bodyPr>
          <a:lstStyle/>
          <a:p>
            <a:r>
              <a:rPr lang="en-US" sz="1100" b="1" dirty="0">
                <a:solidFill>
                  <a:schemeClr val="accent5"/>
                </a:solidFill>
              </a:rPr>
              <a:t>Supporting team</a:t>
            </a:r>
            <a:endParaRPr lang="en-US" sz="1100" dirty="0">
              <a:solidFill>
                <a:schemeClr val="accent5"/>
              </a:solidFill>
            </a:endParaRPr>
          </a:p>
        </p:txBody>
      </p:sp>
      <p:grpSp>
        <p:nvGrpSpPr>
          <p:cNvPr id="6" name="Group 5"/>
          <p:cNvGrpSpPr/>
          <p:nvPr/>
        </p:nvGrpSpPr>
        <p:grpSpPr>
          <a:xfrm>
            <a:off x="6138954" y="1611011"/>
            <a:ext cx="2700768" cy="1520602"/>
            <a:chOff x="6138954" y="1611011"/>
            <a:chExt cx="2700768" cy="1520602"/>
          </a:xfrm>
        </p:grpSpPr>
        <p:sp>
          <p:nvSpPr>
            <p:cNvPr id="15" name="Freeform 14"/>
            <p:cNvSpPr>
              <a:spLocks/>
            </p:cNvSpPr>
            <p:nvPr/>
          </p:nvSpPr>
          <p:spPr bwMode="auto">
            <a:xfrm flipH="1">
              <a:off x="7785640" y="1636229"/>
              <a:ext cx="1054082" cy="355564"/>
            </a:xfrm>
            <a:custGeom>
              <a:avLst/>
              <a:gdLst>
                <a:gd name="T0" fmla="*/ 0 w 836"/>
                <a:gd name="T1" fmla="*/ 282 h 282"/>
                <a:gd name="T2" fmla="*/ 836 w 836"/>
                <a:gd name="T3" fmla="*/ 282 h 282"/>
                <a:gd name="T4" fmla="*/ 836 w 836"/>
                <a:gd name="T5" fmla="*/ 0 h 282"/>
                <a:gd name="T6" fmla="*/ 268 w 836"/>
                <a:gd name="T7" fmla="*/ 0 h 282"/>
                <a:gd name="T8" fmla="*/ 268 w 836"/>
                <a:gd name="T9" fmla="*/ 0 h 282"/>
                <a:gd name="T10" fmla="*/ 262 w 836"/>
                <a:gd name="T11" fmla="*/ 2 h 282"/>
                <a:gd name="T12" fmla="*/ 242 w 836"/>
                <a:gd name="T13" fmla="*/ 4 h 282"/>
                <a:gd name="T14" fmla="*/ 228 w 836"/>
                <a:gd name="T15" fmla="*/ 8 h 282"/>
                <a:gd name="T16" fmla="*/ 210 w 836"/>
                <a:gd name="T17" fmla="*/ 14 h 282"/>
                <a:gd name="T18" fmla="*/ 192 w 836"/>
                <a:gd name="T19" fmla="*/ 22 h 282"/>
                <a:gd name="T20" fmla="*/ 172 w 836"/>
                <a:gd name="T21" fmla="*/ 32 h 282"/>
                <a:gd name="T22" fmla="*/ 152 w 836"/>
                <a:gd name="T23" fmla="*/ 48 h 282"/>
                <a:gd name="T24" fmla="*/ 130 w 836"/>
                <a:gd name="T25" fmla="*/ 66 h 282"/>
                <a:gd name="T26" fmla="*/ 108 w 836"/>
                <a:gd name="T27" fmla="*/ 88 h 282"/>
                <a:gd name="T28" fmla="*/ 84 w 836"/>
                <a:gd name="T29" fmla="*/ 116 h 282"/>
                <a:gd name="T30" fmla="*/ 62 w 836"/>
                <a:gd name="T31" fmla="*/ 148 h 282"/>
                <a:gd name="T32" fmla="*/ 40 w 836"/>
                <a:gd name="T33" fmla="*/ 186 h 282"/>
                <a:gd name="T34" fmla="*/ 20 w 836"/>
                <a:gd name="T35" fmla="*/ 230 h 282"/>
                <a:gd name="T36" fmla="*/ 0 w 836"/>
                <a:gd name="T37" fmla="*/ 282 h 282"/>
                <a:gd name="T38" fmla="*/ 0 w 836"/>
                <a:gd name="T39"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6" h="282">
                  <a:moveTo>
                    <a:pt x="0" y="282"/>
                  </a:moveTo>
                  <a:lnTo>
                    <a:pt x="836" y="282"/>
                  </a:lnTo>
                  <a:lnTo>
                    <a:pt x="836" y="0"/>
                  </a:lnTo>
                  <a:lnTo>
                    <a:pt x="268" y="0"/>
                  </a:lnTo>
                  <a:lnTo>
                    <a:pt x="268" y="0"/>
                  </a:lnTo>
                  <a:lnTo>
                    <a:pt x="262" y="2"/>
                  </a:lnTo>
                  <a:lnTo>
                    <a:pt x="242" y="4"/>
                  </a:lnTo>
                  <a:lnTo>
                    <a:pt x="228" y="8"/>
                  </a:lnTo>
                  <a:lnTo>
                    <a:pt x="210" y="14"/>
                  </a:lnTo>
                  <a:lnTo>
                    <a:pt x="192" y="22"/>
                  </a:lnTo>
                  <a:lnTo>
                    <a:pt x="172" y="32"/>
                  </a:lnTo>
                  <a:lnTo>
                    <a:pt x="152" y="48"/>
                  </a:lnTo>
                  <a:lnTo>
                    <a:pt x="130" y="66"/>
                  </a:lnTo>
                  <a:lnTo>
                    <a:pt x="108" y="88"/>
                  </a:lnTo>
                  <a:lnTo>
                    <a:pt x="84" y="116"/>
                  </a:lnTo>
                  <a:lnTo>
                    <a:pt x="62" y="148"/>
                  </a:lnTo>
                  <a:lnTo>
                    <a:pt x="40" y="186"/>
                  </a:lnTo>
                  <a:lnTo>
                    <a:pt x="20" y="230"/>
                  </a:lnTo>
                  <a:lnTo>
                    <a:pt x="0" y="282"/>
                  </a:lnTo>
                  <a:lnTo>
                    <a:pt x="0" y="282"/>
                  </a:lnTo>
                  <a:close/>
                </a:path>
              </a:pathLst>
            </a:custGeom>
            <a:solidFill>
              <a:schemeClr val="tx2"/>
            </a:solidFill>
            <a:ln>
              <a:noFill/>
            </a:ln>
          </p:spPr>
          <p:txBody>
            <a:bodyPr vert="horz" wrap="square" lIns="96700" tIns="48350" rIns="96700" bIns="48350" numCol="1" anchor="t" anchorCtr="0" compatLnSpc="1">
              <a:prstTxWarp prst="textNoShape">
                <a:avLst/>
              </a:prstTxWarp>
            </a:bodyPr>
            <a:lstStyle/>
            <a:p>
              <a:endParaRPr lang="en-US" sz="2013" dirty="0"/>
            </a:p>
          </p:txBody>
        </p:sp>
        <p:sp>
          <p:nvSpPr>
            <p:cNvPr id="16" name="Freeform 31"/>
            <p:cNvSpPr>
              <a:spLocks/>
            </p:cNvSpPr>
            <p:nvPr/>
          </p:nvSpPr>
          <p:spPr bwMode="auto">
            <a:xfrm flipH="1">
              <a:off x="6138954" y="1611011"/>
              <a:ext cx="2476337" cy="1520602"/>
            </a:xfrm>
            <a:custGeom>
              <a:avLst/>
              <a:gdLst>
                <a:gd name="T0" fmla="*/ 1962 w 1964"/>
                <a:gd name="T1" fmla="*/ 394 h 1206"/>
                <a:gd name="T2" fmla="*/ 1960 w 1964"/>
                <a:gd name="T3" fmla="*/ 384 h 1206"/>
                <a:gd name="T4" fmla="*/ 1954 w 1964"/>
                <a:gd name="T5" fmla="*/ 368 h 1206"/>
                <a:gd name="T6" fmla="*/ 1948 w 1964"/>
                <a:gd name="T7" fmla="*/ 362 h 1206"/>
                <a:gd name="T8" fmla="*/ 1932 w 1964"/>
                <a:gd name="T9" fmla="*/ 350 h 1206"/>
                <a:gd name="T10" fmla="*/ 1912 w 1964"/>
                <a:gd name="T11" fmla="*/ 346 h 1206"/>
                <a:gd name="T12" fmla="*/ 1894 w 1964"/>
                <a:gd name="T13" fmla="*/ 350 h 1206"/>
                <a:gd name="T14" fmla="*/ 1876 w 1964"/>
                <a:gd name="T15" fmla="*/ 360 h 1206"/>
                <a:gd name="T16" fmla="*/ 1738 w 1964"/>
                <a:gd name="T17" fmla="*/ 410 h 1206"/>
                <a:gd name="T18" fmla="*/ 1444 w 1964"/>
                <a:gd name="T19" fmla="*/ 116 h 1206"/>
                <a:gd name="T20" fmla="*/ 1402 w 1964"/>
                <a:gd name="T21" fmla="*/ 76 h 1206"/>
                <a:gd name="T22" fmla="*/ 1356 w 1964"/>
                <a:gd name="T23" fmla="*/ 40 h 1206"/>
                <a:gd name="T24" fmla="*/ 1310 w 1964"/>
                <a:gd name="T25" fmla="*/ 14 h 1206"/>
                <a:gd name="T26" fmla="*/ 1276 w 1964"/>
                <a:gd name="T27" fmla="*/ 4 h 1206"/>
                <a:gd name="T28" fmla="*/ 1264 w 1964"/>
                <a:gd name="T29" fmla="*/ 4 h 1206"/>
                <a:gd name="T30" fmla="*/ 334 w 1964"/>
                <a:gd name="T31" fmla="*/ 0 h 1206"/>
                <a:gd name="T32" fmla="*/ 138 w 1964"/>
                <a:gd name="T33" fmla="*/ 2 h 1206"/>
                <a:gd name="T34" fmla="*/ 114 w 1964"/>
                <a:gd name="T35" fmla="*/ 4 h 1206"/>
                <a:gd name="T36" fmla="*/ 74 w 1964"/>
                <a:gd name="T37" fmla="*/ 12 h 1206"/>
                <a:gd name="T38" fmla="*/ 42 w 1964"/>
                <a:gd name="T39" fmla="*/ 26 h 1206"/>
                <a:gd name="T40" fmla="*/ 0 w 1964"/>
                <a:gd name="T41" fmla="*/ 52 h 1206"/>
                <a:gd name="T42" fmla="*/ 16 w 1964"/>
                <a:gd name="T43" fmla="*/ 44 h 1206"/>
                <a:gd name="T44" fmla="*/ 54 w 1964"/>
                <a:gd name="T45" fmla="*/ 30 h 1206"/>
                <a:gd name="T46" fmla="*/ 92 w 1964"/>
                <a:gd name="T47" fmla="*/ 26 h 1206"/>
                <a:gd name="T48" fmla="*/ 132 w 1964"/>
                <a:gd name="T49" fmla="*/ 28 h 1206"/>
                <a:gd name="T50" fmla="*/ 172 w 1964"/>
                <a:gd name="T51" fmla="*/ 38 h 1206"/>
                <a:gd name="T52" fmla="*/ 214 w 1964"/>
                <a:gd name="T53" fmla="*/ 54 h 1206"/>
                <a:gd name="T54" fmla="*/ 256 w 1964"/>
                <a:gd name="T55" fmla="*/ 80 h 1206"/>
                <a:gd name="T56" fmla="*/ 298 w 1964"/>
                <a:gd name="T57" fmla="*/ 112 h 1206"/>
                <a:gd name="T58" fmla="*/ 1212 w 1964"/>
                <a:gd name="T59" fmla="*/ 1026 h 1206"/>
                <a:gd name="T60" fmla="*/ 1120 w 1964"/>
                <a:gd name="T61" fmla="*/ 1118 h 1206"/>
                <a:gd name="T62" fmla="*/ 1108 w 1964"/>
                <a:gd name="T63" fmla="*/ 1136 h 1206"/>
                <a:gd name="T64" fmla="*/ 1104 w 1964"/>
                <a:gd name="T65" fmla="*/ 1154 h 1206"/>
                <a:gd name="T66" fmla="*/ 1108 w 1964"/>
                <a:gd name="T67" fmla="*/ 1174 h 1206"/>
                <a:gd name="T68" fmla="*/ 1118 w 1964"/>
                <a:gd name="T69" fmla="*/ 1190 h 1206"/>
                <a:gd name="T70" fmla="*/ 1126 w 1964"/>
                <a:gd name="T71" fmla="*/ 1194 h 1206"/>
                <a:gd name="T72" fmla="*/ 1142 w 1964"/>
                <a:gd name="T73" fmla="*/ 1202 h 1206"/>
                <a:gd name="T74" fmla="*/ 1874 w 1964"/>
                <a:gd name="T75" fmla="*/ 1206 h 1206"/>
                <a:gd name="T76" fmla="*/ 1892 w 1964"/>
                <a:gd name="T77" fmla="*/ 1206 h 1206"/>
                <a:gd name="T78" fmla="*/ 1926 w 1964"/>
                <a:gd name="T79" fmla="*/ 1194 h 1206"/>
                <a:gd name="T80" fmla="*/ 1940 w 1964"/>
                <a:gd name="T81" fmla="*/ 1182 h 1206"/>
                <a:gd name="T82" fmla="*/ 1960 w 1964"/>
                <a:gd name="T83" fmla="*/ 1152 h 1206"/>
                <a:gd name="T84" fmla="*/ 1964 w 1964"/>
                <a:gd name="T85" fmla="*/ 1116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64" h="1206">
                  <a:moveTo>
                    <a:pt x="1964" y="1116"/>
                  </a:moveTo>
                  <a:lnTo>
                    <a:pt x="1962" y="394"/>
                  </a:lnTo>
                  <a:lnTo>
                    <a:pt x="1962" y="394"/>
                  </a:lnTo>
                  <a:lnTo>
                    <a:pt x="1960" y="384"/>
                  </a:lnTo>
                  <a:lnTo>
                    <a:pt x="1958" y="376"/>
                  </a:lnTo>
                  <a:lnTo>
                    <a:pt x="1954" y="368"/>
                  </a:lnTo>
                  <a:lnTo>
                    <a:pt x="1948" y="362"/>
                  </a:lnTo>
                  <a:lnTo>
                    <a:pt x="1948" y="362"/>
                  </a:lnTo>
                  <a:lnTo>
                    <a:pt x="1940" y="354"/>
                  </a:lnTo>
                  <a:lnTo>
                    <a:pt x="1932" y="350"/>
                  </a:lnTo>
                  <a:lnTo>
                    <a:pt x="1922" y="348"/>
                  </a:lnTo>
                  <a:lnTo>
                    <a:pt x="1912" y="346"/>
                  </a:lnTo>
                  <a:lnTo>
                    <a:pt x="1904" y="348"/>
                  </a:lnTo>
                  <a:lnTo>
                    <a:pt x="1894" y="350"/>
                  </a:lnTo>
                  <a:lnTo>
                    <a:pt x="1884" y="354"/>
                  </a:lnTo>
                  <a:lnTo>
                    <a:pt x="1876" y="360"/>
                  </a:lnTo>
                  <a:lnTo>
                    <a:pt x="1782" y="456"/>
                  </a:lnTo>
                  <a:lnTo>
                    <a:pt x="1738" y="410"/>
                  </a:lnTo>
                  <a:lnTo>
                    <a:pt x="1738" y="410"/>
                  </a:lnTo>
                  <a:lnTo>
                    <a:pt x="1444" y="116"/>
                  </a:lnTo>
                  <a:lnTo>
                    <a:pt x="1444" y="116"/>
                  </a:lnTo>
                  <a:lnTo>
                    <a:pt x="1402" y="76"/>
                  </a:lnTo>
                  <a:lnTo>
                    <a:pt x="1380" y="58"/>
                  </a:lnTo>
                  <a:lnTo>
                    <a:pt x="1356" y="40"/>
                  </a:lnTo>
                  <a:lnTo>
                    <a:pt x="1332" y="26"/>
                  </a:lnTo>
                  <a:lnTo>
                    <a:pt x="1310" y="14"/>
                  </a:lnTo>
                  <a:lnTo>
                    <a:pt x="1286" y="6"/>
                  </a:lnTo>
                  <a:lnTo>
                    <a:pt x="1276" y="4"/>
                  </a:lnTo>
                  <a:lnTo>
                    <a:pt x="1264" y="4"/>
                  </a:lnTo>
                  <a:lnTo>
                    <a:pt x="1264" y="4"/>
                  </a:lnTo>
                  <a:lnTo>
                    <a:pt x="716" y="2"/>
                  </a:lnTo>
                  <a:lnTo>
                    <a:pt x="334" y="0"/>
                  </a:lnTo>
                  <a:lnTo>
                    <a:pt x="200" y="0"/>
                  </a:lnTo>
                  <a:lnTo>
                    <a:pt x="138" y="2"/>
                  </a:lnTo>
                  <a:lnTo>
                    <a:pt x="138" y="2"/>
                  </a:lnTo>
                  <a:lnTo>
                    <a:pt x="114" y="4"/>
                  </a:lnTo>
                  <a:lnTo>
                    <a:pt x="92" y="8"/>
                  </a:lnTo>
                  <a:lnTo>
                    <a:pt x="74" y="12"/>
                  </a:lnTo>
                  <a:lnTo>
                    <a:pt x="58" y="18"/>
                  </a:lnTo>
                  <a:lnTo>
                    <a:pt x="42" y="26"/>
                  </a:lnTo>
                  <a:lnTo>
                    <a:pt x="28" y="34"/>
                  </a:lnTo>
                  <a:lnTo>
                    <a:pt x="0" y="52"/>
                  </a:lnTo>
                  <a:lnTo>
                    <a:pt x="0" y="52"/>
                  </a:lnTo>
                  <a:lnTo>
                    <a:pt x="16" y="44"/>
                  </a:lnTo>
                  <a:lnTo>
                    <a:pt x="36" y="36"/>
                  </a:lnTo>
                  <a:lnTo>
                    <a:pt x="54" y="30"/>
                  </a:lnTo>
                  <a:lnTo>
                    <a:pt x="74" y="28"/>
                  </a:lnTo>
                  <a:lnTo>
                    <a:pt x="92" y="26"/>
                  </a:lnTo>
                  <a:lnTo>
                    <a:pt x="112" y="26"/>
                  </a:lnTo>
                  <a:lnTo>
                    <a:pt x="132" y="28"/>
                  </a:lnTo>
                  <a:lnTo>
                    <a:pt x="152" y="32"/>
                  </a:lnTo>
                  <a:lnTo>
                    <a:pt x="172" y="38"/>
                  </a:lnTo>
                  <a:lnTo>
                    <a:pt x="194" y="44"/>
                  </a:lnTo>
                  <a:lnTo>
                    <a:pt x="214" y="54"/>
                  </a:lnTo>
                  <a:lnTo>
                    <a:pt x="234" y="66"/>
                  </a:lnTo>
                  <a:lnTo>
                    <a:pt x="256" y="80"/>
                  </a:lnTo>
                  <a:lnTo>
                    <a:pt x="276" y="94"/>
                  </a:lnTo>
                  <a:lnTo>
                    <a:pt x="298" y="112"/>
                  </a:lnTo>
                  <a:lnTo>
                    <a:pt x="318" y="132"/>
                  </a:lnTo>
                  <a:lnTo>
                    <a:pt x="1212" y="1026"/>
                  </a:lnTo>
                  <a:lnTo>
                    <a:pt x="1120" y="1118"/>
                  </a:lnTo>
                  <a:lnTo>
                    <a:pt x="1120" y="1118"/>
                  </a:lnTo>
                  <a:lnTo>
                    <a:pt x="1114" y="1126"/>
                  </a:lnTo>
                  <a:lnTo>
                    <a:pt x="1108" y="1136"/>
                  </a:lnTo>
                  <a:lnTo>
                    <a:pt x="1106" y="1146"/>
                  </a:lnTo>
                  <a:lnTo>
                    <a:pt x="1104" y="1154"/>
                  </a:lnTo>
                  <a:lnTo>
                    <a:pt x="1106" y="1164"/>
                  </a:lnTo>
                  <a:lnTo>
                    <a:pt x="1108" y="1174"/>
                  </a:lnTo>
                  <a:lnTo>
                    <a:pt x="1112" y="1182"/>
                  </a:lnTo>
                  <a:lnTo>
                    <a:pt x="1118" y="1190"/>
                  </a:lnTo>
                  <a:lnTo>
                    <a:pt x="1118" y="1190"/>
                  </a:lnTo>
                  <a:lnTo>
                    <a:pt x="1126" y="1194"/>
                  </a:lnTo>
                  <a:lnTo>
                    <a:pt x="1134" y="1200"/>
                  </a:lnTo>
                  <a:lnTo>
                    <a:pt x="1142" y="1202"/>
                  </a:lnTo>
                  <a:lnTo>
                    <a:pt x="1152" y="1204"/>
                  </a:lnTo>
                  <a:lnTo>
                    <a:pt x="1874" y="1206"/>
                  </a:lnTo>
                  <a:lnTo>
                    <a:pt x="1874" y="1206"/>
                  </a:lnTo>
                  <a:lnTo>
                    <a:pt x="1892" y="1206"/>
                  </a:lnTo>
                  <a:lnTo>
                    <a:pt x="1910" y="1202"/>
                  </a:lnTo>
                  <a:lnTo>
                    <a:pt x="1926" y="1194"/>
                  </a:lnTo>
                  <a:lnTo>
                    <a:pt x="1940" y="1182"/>
                  </a:lnTo>
                  <a:lnTo>
                    <a:pt x="1940" y="1182"/>
                  </a:lnTo>
                  <a:lnTo>
                    <a:pt x="1952" y="1168"/>
                  </a:lnTo>
                  <a:lnTo>
                    <a:pt x="1960" y="1152"/>
                  </a:lnTo>
                  <a:lnTo>
                    <a:pt x="1964" y="1134"/>
                  </a:lnTo>
                  <a:lnTo>
                    <a:pt x="1964" y="1116"/>
                  </a:lnTo>
                  <a:lnTo>
                    <a:pt x="1964" y="1116"/>
                  </a:lnTo>
                  <a:close/>
                </a:path>
              </a:pathLst>
            </a:custGeom>
            <a:solidFill>
              <a:schemeClr val="bg2"/>
            </a:solidFill>
            <a:ln>
              <a:noFill/>
            </a:ln>
          </p:spPr>
          <p:txBody>
            <a:bodyPr vert="horz" wrap="square" lIns="96700" tIns="48350" rIns="96700" bIns="48350" numCol="1" anchor="t" anchorCtr="0" compatLnSpc="1">
              <a:prstTxWarp prst="textNoShape">
                <a:avLst/>
              </a:prstTxWarp>
            </a:bodyPr>
            <a:lstStyle/>
            <a:p>
              <a:endParaRPr lang="en-US" sz="2013" dirty="0"/>
            </a:p>
          </p:txBody>
        </p:sp>
      </p:grpSp>
      <p:sp>
        <p:nvSpPr>
          <p:cNvPr id="17" name="Rectangle 16"/>
          <p:cNvSpPr/>
          <p:nvPr/>
        </p:nvSpPr>
        <p:spPr>
          <a:xfrm rot="18922748" flipH="1">
            <a:off x="6229554" y="2084304"/>
            <a:ext cx="1641140" cy="261610"/>
          </a:xfrm>
          <a:prstGeom prst="rect">
            <a:avLst/>
          </a:prstGeom>
        </p:spPr>
        <p:txBody>
          <a:bodyPr wrap="square">
            <a:spAutoFit/>
          </a:bodyPr>
          <a:lstStyle/>
          <a:p>
            <a:r>
              <a:rPr lang="en-US" sz="1100" b="1" dirty="0">
                <a:solidFill>
                  <a:schemeClr val="accent5"/>
                </a:solidFill>
              </a:rPr>
              <a:t>Project Manager</a:t>
            </a:r>
            <a:endParaRPr lang="en-US" sz="1100" dirty="0">
              <a:solidFill>
                <a:schemeClr val="accent5"/>
              </a:solidFill>
            </a:endParaRPr>
          </a:p>
        </p:txBody>
      </p:sp>
      <p:grpSp>
        <p:nvGrpSpPr>
          <p:cNvPr id="14" name="Group 13"/>
          <p:cNvGrpSpPr/>
          <p:nvPr/>
        </p:nvGrpSpPr>
        <p:grpSpPr>
          <a:xfrm>
            <a:off x="3378716" y="4471146"/>
            <a:ext cx="2685641" cy="1520602"/>
            <a:chOff x="3378716" y="4471146"/>
            <a:chExt cx="2685641" cy="1520602"/>
          </a:xfrm>
        </p:grpSpPr>
        <p:sp>
          <p:nvSpPr>
            <p:cNvPr id="19" name="Freeform 32"/>
            <p:cNvSpPr>
              <a:spLocks/>
            </p:cNvSpPr>
            <p:nvPr/>
          </p:nvSpPr>
          <p:spPr bwMode="auto">
            <a:xfrm flipH="1">
              <a:off x="3378716" y="5610970"/>
              <a:ext cx="1054082" cy="353042"/>
            </a:xfrm>
            <a:custGeom>
              <a:avLst/>
              <a:gdLst>
                <a:gd name="T0" fmla="*/ 836 w 836"/>
                <a:gd name="T1" fmla="*/ 0 h 280"/>
                <a:gd name="T2" fmla="*/ 0 w 836"/>
                <a:gd name="T3" fmla="*/ 0 h 280"/>
                <a:gd name="T4" fmla="*/ 0 w 836"/>
                <a:gd name="T5" fmla="*/ 280 h 280"/>
                <a:gd name="T6" fmla="*/ 566 w 836"/>
                <a:gd name="T7" fmla="*/ 280 h 280"/>
                <a:gd name="T8" fmla="*/ 566 w 836"/>
                <a:gd name="T9" fmla="*/ 280 h 280"/>
                <a:gd name="T10" fmla="*/ 574 w 836"/>
                <a:gd name="T11" fmla="*/ 280 h 280"/>
                <a:gd name="T12" fmla="*/ 594 w 836"/>
                <a:gd name="T13" fmla="*/ 276 h 280"/>
                <a:gd name="T14" fmla="*/ 608 w 836"/>
                <a:gd name="T15" fmla="*/ 274 h 280"/>
                <a:gd name="T16" fmla="*/ 624 w 836"/>
                <a:gd name="T17" fmla="*/ 268 h 280"/>
                <a:gd name="T18" fmla="*/ 644 w 836"/>
                <a:gd name="T19" fmla="*/ 260 h 280"/>
                <a:gd name="T20" fmla="*/ 662 w 836"/>
                <a:gd name="T21" fmla="*/ 248 h 280"/>
                <a:gd name="T22" fmla="*/ 684 w 836"/>
                <a:gd name="T23" fmla="*/ 234 h 280"/>
                <a:gd name="T24" fmla="*/ 706 w 836"/>
                <a:gd name="T25" fmla="*/ 216 h 280"/>
                <a:gd name="T26" fmla="*/ 728 w 836"/>
                <a:gd name="T27" fmla="*/ 192 h 280"/>
                <a:gd name="T28" fmla="*/ 750 w 836"/>
                <a:gd name="T29" fmla="*/ 166 h 280"/>
                <a:gd name="T30" fmla="*/ 774 w 836"/>
                <a:gd name="T31" fmla="*/ 132 h 280"/>
                <a:gd name="T32" fmla="*/ 796 w 836"/>
                <a:gd name="T33" fmla="*/ 94 h 280"/>
                <a:gd name="T34" fmla="*/ 816 w 836"/>
                <a:gd name="T35" fmla="*/ 50 h 280"/>
                <a:gd name="T36" fmla="*/ 836 w 836"/>
                <a:gd name="T37" fmla="*/ 0 h 280"/>
                <a:gd name="T38" fmla="*/ 836 w 836"/>
                <a:gd name="T39"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6" h="280">
                  <a:moveTo>
                    <a:pt x="836" y="0"/>
                  </a:moveTo>
                  <a:lnTo>
                    <a:pt x="0" y="0"/>
                  </a:lnTo>
                  <a:lnTo>
                    <a:pt x="0" y="280"/>
                  </a:lnTo>
                  <a:lnTo>
                    <a:pt x="566" y="280"/>
                  </a:lnTo>
                  <a:lnTo>
                    <a:pt x="566" y="280"/>
                  </a:lnTo>
                  <a:lnTo>
                    <a:pt x="574" y="280"/>
                  </a:lnTo>
                  <a:lnTo>
                    <a:pt x="594" y="276"/>
                  </a:lnTo>
                  <a:lnTo>
                    <a:pt x="608" y="274"/>
                  </a:lnTo>
                  <a:lnTo>
                    <a:pt x="624" y="268"/>
                  </a:lnTo>
                  <a:lnTo>
                    <a:pt x="644" y="260"/>
                  </a:lnTo>
                  <a:lnTo>
                    <a:pt x="662" y="248"/>
                  </a:lnTo>
                  <a:lnTo>
                    <a:pt x="684" y="234"/>
                  </a:lnTo>
                  <a:lnTo>
                    <a:pt x="706" y="216"/>
                  </a:lnTo>
                  <a:lnTo>
                    <a:pt x="728" y="192"/>
                  </a:lnTo>
                  <a:lnTo>
                    <a:pt x="750" y="166"/>
                  </a:lnTo>
                  <a:lnTo>
                    <a:pt x="774" y="132"/>
                  </a:lnTo>
                  <a:lnTo>
                    <a:pt x="796" y="94"/>
                  </a:lnTo>
                  <a:lnTo>
                    <a:pt x="816" y="50"/>
                  </a:lnTo>
                  <a:lnTo>
                    <a:pt x="836" y="0"/>
                  </a:lnTo>
                  <a:lnTo>
                    <a:pt x="836" y="0"/>
                  </a:lnTo>
                  <a:close/>
                </a:path>
              </a:pathLst>
            </a:custGeom>
            <a:solidFill>
              <a:schemeClr val="tx2"/>
            </a:solidFill>
            <a:ln>
              <a:noFill/>
            </a:ln>
          </p:spPr>
          <p:txBody>
            <a:bodyPr vert="horz" wrap="square" lIns="96700" tIns="48350" rIns="96700" bIns="48350" numCol="1" anchor="t" anchorCtr="0" compatLnSpc="1">
              <a:prstTxWarp prst="textNoShape">
                <a:avLst/>
              </a:prstTxWarp>
            </a:bodyPr>
            <a:lstStyle/>
            <a:p>
              <a:endParaRPr lang="en-US" sz="2013" dirty="0"/>
            </a:p>
          </p:txBody>
        </p:sp>
        <p:sp>
          <p:nvSpPr>
            <p:cNvPr id="20" name="Freeform 35"/>
            <p:cNvSpPr>
              <a:spLocks/>
            </p:cNvSpPr>
            <p:nvPr/>
          </p:nvSpPr>
          <p:spPr bwMode="auto">
            <a:xfrm flipH="1">
              <a:off x="3588020" y="4471146"/>
              <a:ext cx="2476337" cy="1520602"/>
            </a:xfrm>
            <a:custGeom>
              <a:avLst/>
              <a:gdLst>
                <a:gd name="T0" fmla="*/ 2 w 1964"/>
                <a:gd name="T1" fmla="*/ 812 h 1206"/>
                <a:gd name="T2" fmla="*/ 4 w 1964"/>
                <a:gd name="T3" fmla="*/ 820 h 1206"/>
                <a:gd name="T4" fmla="*/ 10 w 1964"/>
                <a:gd name="T5" fmla="*/ 838 h 1206"/>
                <a:gd name="T6" fmla="*/ 16 w 1964"/>
                <a:gd name="T7" fmla="*/ 844 h 1206"/>
                <a:gd name="T8" fmla="*/ 32 w 1964"/>
                <a:gd name="T9" fmla="*/ 854 h 1206"/>
                <a:gd name="T10" fmla="*/ 52 w 1964"/>
                <a:gd name="T11" fmla="*/ 858 h 1206"/>
                <a:gd name="T12" fmla="*/ 70 w 1964"/>
                <a:gd name="T13" fmla="*/ 854 h 1206"/>
                <a:gd name="T14" fmla="*/ 88 w 1964"/>
                <a:gd name="T15" fmla="*/ 844 h 1206"/>
                <a:gd name="T16" fmla="*/ 226 w 1964"/>
                <a:gd name="T17" fmla="*/ 794 h 1206"/>
                <a:gd name="T18" fmla="*/ 520 w 1964"/>
                <a:gd name="T19" fmla="*/ 1090 h 1206"/>
                <a:gd name="T20" fmla="*/ 562 w 1964"/>
                <a:gd name="T21" fmla="*/ 1128 h 1206"/>
                <a:gd name="T22" fmla="*/ 608 w 1964"/>
                <a:gd name="T23" fmla="*/ 1164 h 1206"/>
                <a:gd name="T24" fmla="*/ 654 w 1964"/>
                <a:gd name="T25" fmla="*/ 1190 h 1206"/>
                <a:gd name="T26" fmla="*/ 688 w 1964"/>
                <a:gd name="T27" fmla="*/ 1200 h 1206"/>
                <a:gd name="T28" fmla="*/ 700 w 1964"/>
                <a:gd name="T29" fmla="*/ 1202 h 1206"/>
                <a:gd name="T30" fmla="*/ 1630 w 1964"/>
                <a:gd name="T31" fmla="*/ 1206 h 1206"/>
                <a:gd name="T32" fmla="*/ 1826 w 1964"/>
                <a:gd name="T33" fmla="*/ 1204 h 1206"/>
                <a:gd name="T34" fmla="*/ 1850 w 1964"/>
                <a:gd name="T35" fmla="*/ 1202 h 1206"/>
                <a:gd name="T36" fmla="*/ 1890 w 1964"/>
                <a:gd name="T37" fmla="*/ 1192 h 1206"/>
                <a:gd name="T38" fmla="*/ 1922 w 1964"/>
                <a:gd name="T39" fmla="*/ 1180 h 1206"/>
                <a:gd name="T40" fmla="*/ 1964 w 1964"/>
                <a:gd name="T41" fmla="*/ 1154 h 1206"/>
                <a:gd name="T42" fmla="*/ 1946 w 1964"/>
                <a:gd name="T43" fmla="*/ 1162 h 1206"/>
                <a:gd name="T44" fmla="*/ 1910 w 1964"/>
                <a:gd name="T45" fmla="*/ 1174 h 1206"/>
                <a:gd name="T46" fmla="*/ 1872 w 1964"/>
                <a:gd name="T47" fmla="*/ 1180 h 1206"/>
                <a:gd name="T48" fmla="*/ 1832 w 1964"/>
                <a:gd name="T49" fmla="*/ 1178 h 1206"/>
                <a:gd name="T50" fmla="*/ 1792 w 1964"/>
                <a:gd name="T51" fmla="*/ 1168 h 1206"/>
                <a:gd name="T52" fmla="*/ 1750 w 1964"/>
                <a:gd name="T53" fmla="*/ 1150 h 1206"/>
                <a:gd name="T54" fmla="*/ 1708 w 1964"/>
                <a:gd name="T55" fmla="*/ 1126 h 1206"/>
                <a:gd name="T56" fmla="*/ 1666 w 1964"/>
                <a:gd name="T57" fmla="*/ 1092 h 1206"/>
                <a:gd name="T58" fmla="*/ 752 w 1964"/>
                <a:gd name="T59" fmla="*/ 178 h 1206"/>
                <a:gd name="T60" fmla="*/ 844 w 1964"/>
                <a:gd name="T61" fmla="*/ 86 h 1206"/>
                <a:gd name="T62" fmla="*/ 856 w 1964"/>
                <a:gd name="T63" fmla="*/ 70 h 1206"/>
                <a:gd name="T64" fmla="*/ 860 w 1964"/>
                <a:gd name="T65" fmla="*/ 50 h 1206"/>
                <a:gd name="T66" fmla="*/ 856 w 1964"/>
                <a:gd name="T67" fmla="*/ 32 h 1206"/>
                <a:gd name="T68" fmla="*/ 846 w 1964"/>
                <a:gd name="T69" fmla="*/ 16 h 1206"/>
                <a:gd name="T70" fmla="*/ 838 w 1964"/>
                <a:gd name="T71" fmla="*/ 10 h 1206"/>
                <a:gd name="T72" fmla="*/ 822 w 1964"/>
                <a:gd name="T73" fmla="*/ 2 h 1206"/>
                <a:gd name="T74" fmla="*/ 90 w 1964"/>
                <a:gd name="T75" fmla="*/ 0 h 1206"/>
                <a:gd name="T76" fmla="*/ 72 w 1964"/>
                <a:gd name="T77" fmla="*/ 0 h 1206"/>
                <a:gd name="T78" fmla="*/ 38 w 1964"/>
                <a:gd name="T79" fmla="*/ 12 h 1206"/>
                <a:gd name="T80" fmla="*/ 24 w 1964"/>
                <a:gd name="T81" fmla="*/ 22 h 1206"/>
                <a:gd name="T82" fmla="*/ 4 w 1964"/>
                <a:gd name="T83" fmla="*/ 52 h 1206"/>
                <a:gd name="T84" fmla="*/ 0 w 1964"/>
                <a:gd name="T85" fmla="*/ 90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64" h="1206">
                  <a:moveTo>
                    <a:pt x="0" y="90"/>
                  </a:moveTo>
                  <a:lnTo>
                    <a:pt x="2" y="812"/>
                  </a:lnTo>
                  <a:lnTo>
                    <a:pt x="2" y="812"/>
                  </a:lnTo>
                  <a:lnTo>
                    <a:pt x="4" y="820"/>
                  </a:lnTo>
                  <a:lnTo>
                    <a:pt x="6" y="830"/>
                  </a:lnTo>
                  <a:lnTo>
                    <a:pt x="10" y="838"/>
                  </a:lnTo>
                  <a:lnTo>
                    <a:pt x="16" y="844"/>
                  </a:lnTo>
                  <a:lnTo>
                    <a:pt x="16" y="844"/>
                  </a:lnTo>
                  <a:lnTo>
                    <a:pt x="24" y="850"/>
                  </a:lnTo>
                  <a:lnTo>
                    <a:pt x="32" y="854"/>
                  </a:lnTo>
                  <a:lnTo>
                    <a:pt x="42" y="858"/>
                  </a:lnTo>
                  <a:lnTo>
                    <a:pt x="52" y="858"/>
                  </a:lnTo>
                  <a:lnTo>
                    <a:pt x="60" y="858"/>
                  </a:lnTo>
                  <a:lnTo>
                    <a:pt x="70" y="854"/>
                  </a:lnTo>
                  <a:lnTo>
                    <a:pt x="80" y="850"/>
                  </a:lnTo>
                  <a:lnTo>
                    <a:pt x="88" y="844"/>
                  </a:lnTo>
                  <a:lnTo>
                    <a:pt x="180" y="750"/>
                  </a:lnTo>
                  <a:lnTo>
                    <a:pt x="226" y="794"/>
                  </a:lnTo>
                  <a:lnTo>
                    <a:pt x="226" y="794"/>
                  </a:lnTo>
                  <a:lnTo>
                    <a:pt x="520" y="1090"/>
                  </a:lnTo>
                  <a:lnTo>
                    <a:pt x="520" y="1090"/>
                  </a:lnTo>
                  <a:lnTo>
                    <a:pt x="562" y="1128"/>
                  </a:lnTo>
                  <a:lnTo>
                    <a:pt x="584" y="1148"/>
                  </a:lnTo>
                  <a:lnTo>
                    <a:pt x="608" y="1164"/>
                  </a:lnTo>
                  <a:lnTo>
                    <a:pt x="632" y="1180"/>
                  </a:lnTo>
                  <a:lnTo>
                    <a:pt x="654" y="1190"/>
                  </a:lnTo>
                  <a:lnTo>
                    <a:pt x="678" y="1198"/>
                  </a:lnTo>
                  <a:lnTo>
                    <a:pt x="688" y="1200"/>
                  </a:lnTo>
                  <a:lnTo>
                    <a:pt x="700" y="1202"/>
                  </a:lnTo>
                  <a:lnTo>
                    <a:pt x="700" y="1202"/>
                  </a:lnTo>
                  <a:lnTo>
                    <a:pt x="1248" y="1204"/>
                  </a:lnTo>
                  <a:lnTo>
                    <a:pt x="1630" y="1206"/>
                  </a:lnTo>
                  <a:lnTo>
                    <a:pt x="1764" y="1204"/>
                  </a:lnTo>
                  <a:lnTo>
                    <a:pt x="1826" y="1204"/>
                  </a:lnTo>
                  <a:lnTo>
                    <a:pt x="1826" y="1204"/>
                  </a:lnTo>
                  <a:lnTo>
                    <a:pt x="1850" y="1202"/>
                  </a:lnTo>
                  <a:lnTo>
                    <a:pt x="1872" y="1198"/>
                  </a:lnTo>
                  <a:lnTo>
                    <a:pt x="1890" y="1192"/>
                  </a:lnTo>
                  <a:lnTo>
                    <a:pt x="1906" y="1186"/>
                  </a:lnTo>
                  <a:lnTo>
                    <a:pt x="1922" y="1180"/>
                  </a:lnTo>
                  <a:lnTo>
                    <a:pt x="1936" y="1172"/>
                  </a:lnTo>
                  <a:lnTo>
                    <a:pt x="1964" y="1154"/>
                  </a:lnTo>
                  <a:lnTo>
                    <a:pt x="1964" y="1154"/>
                  </a:lnTo>
                  <a:lnTo>
                    <a:pt x="1946" y="1162"/>
                  </a:lnTo>
                  <a:lnTo>
                    <a:pt x="1928" y="1168"/>
                  </a:lnTo>
                  <a:lnTo>
                    <a:pt x="1910" y="1174"/>
                  </a:lnTo>
                  <a:lnTo>
                    <a:pt x="1890" y="1178"/>
                  </a:lnTo>
                  <a:lnTo>
                    <a:pt x="1872" y="1180"/>
                  </a:lnTo>
                  <a:lnTo>
                    <a:pt x="1852" y="1180"/>
                  </a:lnTo>
                  <a:lnTo>
                    <a:pt x="1832" y="1178"/>
                  </a:lnTo>
                  <a:lnTo>
                    <a:pt x="1812" y="1174"/>
                  </a:lnTo>
                  <a:lnTo>
                    <a:pt x="1792" y="1168"/>
                  </a:lnTo>
                  <a:lnTo>
                    <a:pt x="1770" y="1160"/>
                  </a:lnTo>
                  <a:lnTo>
                    <a:pt x="1750" y="1150"/>
                  </a:lnTo>
                  <a:lnTo>
                    <a:pt x="1730" y="1140"/>
                  </a:lnTo>
                  <a:lnTo>
                    <a:pt x="1708" y="1126"/>
                  </a:lnTo>
                  <a:lnTo>
                    <a:pt x="1688" y="1110"/>
                  </a:lnTo>
                  <a:lnTo>
                    <a:pt x="1666" y="1092"/>
                  </a:lnTo>
                  <a:lnTo>
                    <a:pt x="1646" y="1074"/>
                  </a:lnTo>
                  <a:lnTo>
                    <a:pt x="752" y="178"/>
                  </a:lnTo>
                  <a:lnTo>
                    <a:pt x="844" y="86"/>
                  </a:lnTo>
                  <a:lnTo>
                    <a:pt x="844" y="86"/>
                  </a:lnTo>
                  <a:lnTo>
                    <a:pt x="850" y="78"/>
                  </a:lnTo>
                  <a:lnTo>
                    <a:pt x="856" y="70"/>
                  </a:lnTo>
                  <a:lnTo>
                    <a:pt x="858" y="60"/>
                  </a:lnTo>
                  <a:lnTo>
                    <a:pt x="860" y="50"/>
                  </a:lnTo>
                  <a:lnTo>
                    <a:pt x="858" y="42"/>
                  </a:lnTo>
                  <a:lnTo>
                    <a:pt x="856" y="32"/>
                  </a:lnTo>
                  <a:lnTo>
                    <a:pt x="852" y="24"/>
                  </a:lnTo>
                  <a:lnTo>
                    <a:pt x="846" y="16"/>
                  </a:lnTo>
                  <a:lnTo>
                    <a:pt x="846" y="16"/>
                  </a:lnTo>
                  <a:lnTo>
                    <a:pt x="838" y="10"/>
                  </a:lnTo>
                  <a:lnTo>
                    <a:pt x="830" y="6"/>
                  </a:lnTo>
                  <a:lnTo>
                    <a:pt x="822" y="2"/>
                  </a:lnTo>
                  <a:lnTo>
                    <a:pt x="812" y="2"/>
                  </a:lnTo>
                  <a:lnTo>
                    <a:pt x="90" y="0"/>
                  </a:lnTo>
                  <a:lnTo>
                    <a:pt x="90" y="0"/>
                  </a:lnTo>
                  <a:lnTo>
                    <a:pt x="72" y="0"/>
                  </a:lnTo>
                  <a:lnTo>
                    <a:pt x="54" y="4"/>
                  </a:lnTo>
                  <a:lnTo>
                    <a:pt x="38" y="12"/>
                  </a:lnTo>
                  <a:lnTo>
                    <a:pt x="24" y="22"/>
                  </a:lnTo>
                  <a:lnTo>
                    <a:pt x="24" y="22"/>
                  </a:lnTo>
                  <a:lnTo>
                    <a:pt x="12" y="36"/>
                  </a:lnTo>
                  <a:lnTo>
                    <a:pt x="4" y="52"/>
                  </a:lnTo>
                  <a:lnTo>
                    <a:pt x="0" y="70"/>
                  </a:lnTo>
                  <a:lnTo>
                    <a:pt x="0" y="90"/>
                  </a:lnTo>
                  <a:lnTo>
                    <a:pt x="0" y="90"/>
                  </a:lnTo>
                  <a:close/>
                </a:path>
              </a:pathLst>
            </a:custGeom>
            <a:solidFill>
              <a:schemeClr val="bg2"/>
            </a:solidFill>
            <a:ln>
              <a:noFill/>
            </a:ln>
          </p:spPr>
          <p:txBody>
            <a:bodyPr vert="horz" wrap="square" lIns="96700" tIns="48350" rIns="96700" bIns="48350" numCol="1" anchor="t" anchorCtr="0" compatLnSpc="1">
              <a:prstTxWarp prst="textNoShape">
                <a:avLst/>
              </a:prstTxWarp>
            </a:bodyPr>
            <a:lstStyle/>
            <a:p>
              <a:endParaRPr lang="en-US" sz="2013" dirty="0"/>
            </a:p>
          </p:txBody>
        </p:sp>
      </p:grpSp>
      <p:sp>
        <p:nvSpPr>
          <p:cNvPr id="21" name="Rectangle 20"/>
          <p:cNvSpPr/>
          <p:nvPr/>
        </p:nvSpPr>
        <p:spPr>
          <a:xfrm rot="18976213" flipH="1">
            <a:off x="4318000" y="5275263"/>
            <a:ext cx="1641140" cy="260350"/>
          </a:xfrm>
          <a:prstGeom prst="rect">
            <a:avLst/>
          </a:prstGeom>
        </p:spPr>
        <p:txBody>
          <a:bodyPr wrap="square">
            <a:spAutoFit/>
          </a:bodyPr>
          <a:lstStyle/>
          <a:p>
            <a:pPr algn="r"/>
            <a:r>
              <a:rPr lang="en-US" sz="1100" b="1" dirty="0">
                <a:solidFill>
                  <a:schemeClr val="accent5"/>
                </a:solidFill>
              </a:rPr>
              <a:t>Quality ensure</a:t>
            </a:r>
            <a:endParaRPr lang="en-US" sz="1100" dirty="0">
              <a:solidFill>
                <a:schemeClr val="accent5"/>
              </a:solidFill>
            </a:endParaRPr>
          </a:p>
        </p:txBody>
      </p:sp>
      <p:sp>
        <p:nvSpPr>
          <p:cNvPr id="22" name="TextBox 21"/>
          <p:cNvSpPr txBox="1"/>
          <p:nvPr/>
        </p:nvSpPr>
        <p:spPr>
          <a:xfrm>
            <a:off x="8135375" y="2040062"/>
            <a:ext cx="651524" cy="590264"/>
          </a:xfrm>
          <a:prstGeom prst="rect">
            <a:avLst/>
          </a:prstGeom>
          <a:noFill/>
        </p:spPr>
        <p:txBody>
          <a:bodyPr wrap="none" lIns="0" tIns="0" rIns="0" bIns="0" rtlCol="0">
            <a:noAutofit/>
          </a:bodyPr>
          <a:lstStyle/>
          <a:p>
            <a:pPr>
              <a:spcAft>
                <a:spcPts val="952"/>
              </a:spcAft>
            </a:pPr>
            <a:r>
              <a:rPr lang="en-US" sz="3200" b="1" dirty="0">
                <a:solidFill>
                  <a:schemeClr val="accent5"/>
                </a:solidFill>
              </a:rPr>
              <a:t>02</a:t>
            </a:r>
          </a:p>
        </p:txBody>
      </p:sp>
      <p:cxnSp>
        <p:nvCxnSpPr>
          <p:cNvPr id="23" name="Straight Connector 22"/>
          <p:cNvCxnSpPr/>
          <p:nvPr/>
        </p:nvCxnSpPr>
        <p:spPr>
          <a:xfrm flipV="1">
            <a:off x="8003882" y="2150300"/>
            <a:ext cx="0" cy="118020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a:xfrm>
            <a:off x="8135374" y="2568932"/>
            <a:ext cx="3426389" cy="169277"/>
          </a:xfrm>
          <a:prstGeom prst="rect">
            <a:avLst/>
          </a:prstGeom>
        </p:spPr>
        <p:txBody>
          <a:bodyPr wrap="square" lIns="0" tIns="0" rIns="0" bIns="0">
            <a:spAutoFit/>
          </a:bodyPr>
          <a:lstStyle/>
          <a:p>
            <a:pPr>
              <a:spcAft>
                <a:spcPts val="300"/>
              </a:spcAft>
            </a:pPr>
            <a:r>
              <a:rPr lang="en-US" sz="1100" b="1" kern="0" dirty="0">
                <a:cs typeface="Arial" charset="0"/>
              </a:rPr>
              <a:t>Project Manager</a:t>
            </a:r>
            <a:endParaRPr lang="en-US" sz="1100" dirty="0"/>
          </a:p>
        </p:txBody>
      </p:sp>
      <p:sp>
        <p:nvSpPr>
          <p:cNvPr id="26" name="TextBox 25"/>
          <p:cNvSpPr txBox="1"/>
          <p:nvPr/>
        </p:nvSpPr>
        <p:spPr>
          <a:xfrm>
            <a:off x="8135375" y="4183518"/>
            <a:ext cx="651524" cy="590264"/>
          </a:xfrm>
          <a:prstGeom prst="rect">
            <a:avLst/>
          </a:prstGeom>
          <a:noFill/>
        </p:spPr>
        <p:txBody>
          <a:bodyPr wrap="none" lIns="0" tIns="0" rIns="0" bIns="0" rtlCol="0">
            <a:noAutofit/>
          </a:bodyPr>
          <a:lstStyle/>
          <a:p>
            <a:pPr>
              <a:spcAft>
                <a:spcPts val="952"/>
              </a:spcAft>
            </a:pPr>
            <a:r>
              <a:rPr lang="en-US" sz="3200" b="1" dirty="0">
                <a:solidFill>
                  <a:schemeClr val="accent5"/>
                </a:solidFill>
              </a:rPr>
              <a:t>04</a:t>
            </a:r>
          </a:p>
        </p:txBody>
      </p:sp>
      <p:cxnSp>
        <p:nvCxnSpPr>
          <p:cNvPr id="27" name="Straight Connector 26"/>
          <p:cNvCxnSpPr/>
          <p:nvPr/>
        </p:nvCxnSpPr>
        <p:spPr>
          <a:xfrm flipV="1">
            <a:off x="8003882" y="4259710"/>
            <a:ext cx="0" cy="118020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9" name="Rectangle 28"/>
          <p:cNvSpPr/>
          <p:nvPr/>
        </p:nvSpPr>
        <p:spPr>
          <a:xfrm>
            <a:off x="8135374" y="5268809"/>
            <a:ext cx="3426389" cy="169277"/>
          </a:xfrm>
          <a:prstGeom prst="rect">
            <a:avLst/>
          </a:prstGeom>
        </p:spPr>
        <p:txBody>
          <a:bodyPr wrap="square" lIns="0" tIns="0" rIns="0" bIns="0" anchor="b">
            <a:spAutoFit/>
          </a:bodyPr>
          <a:lstStyle/>
          <a:p>
            <a:pPr>
              <a:spcAft>
                <a:spcPts val="300"/>
              </a:spcAft>
            </a:pPr>
            <a:r>
              <a:rPr lang="en-US" sz="1100" b="1" kern="0" dirty="0">
                <a:cs typeface="Arial" charset="0"/>
              </a:rPr>
              <a:t>Cost Management expert</a:t>
            </a:r>
            <a:endParaRPr lang="en-US" sz="1100" dirty="0"/>
          </a:p>
        </p:txBody>
      </p:sp>
      <p:sp>
        <p:nvSpPr>
          <p:cNvPr id="30" name="Rectangle 10"/>
          <p:cNvSpPr>
            <a:spLocks noChangeArrowheads="1"/>
          </p:cNvSpPr>
          <p:nvPr/>
        </p:nvSpPr>
        <p:spPr bwMode="auto">
          <a:xfrm>
            <a:off x="5061058" y="3431034"/>
            <a:ext cx="2088723" cy="738664"/>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algn="ctr" defTabSz="844427" eaLnBrk="0" hangingPunct="0">
              <a:spcAft>
                <a:spcPts val="212"/>
              </a:spcAft>
              <a:defRPr/>
            </a:pPr>
            <a:r>
              <a:rPr lang="en-US" sz="2400" b="1" kern="0" dirty="0">
                <a:cs typeface="Arial" charset="0"/>
              </a:rPr>
              <a:t>Project Organization</a:t>
            </a:r>
            <a:endParaRPr lang="en-US" sz="2800" kern="0" dirty="0">
              <a:cs typeface="Arial" charset="0"/>
            </a:endParaRPr>
          </a:p>
        </p:txBody>
      </p:sp>
      <p:cxnSp>
        <p:nvCxnSpPr>
          <p:cNvPr id="31" name="Straight Connector 30"/>
          <p:cNvCxnSpPr/>
          <p:nvPr/>
        </p:nvCxnSpPr>
        <p:spPr>
          <a:xfrm flipV="1">
            <a:off x="4214301" y="2150300"/>
            <a:ext cx="0" cy="118020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a:xfrm>
            <a:off x="635616" y="2568932"/>
            <a:ext cx="3426389" cy="169277"/>
          </a:xfrm>
          <a:prstGeom prst="rect">
            <a:avLst/>
          </a:prstGeom>
        </p:spPr>
        <p:txBody>
          <a:bodyPr wrap="square" lIns="0" tIns="0" rIns="0" bIns="0">
            <a:spAutoFit/>
          </a:bodyPr>
          <a:lstStyle/>
          <a:p>
            <a:pPr algn="r">
              <a:spcAft>
                <a:spcPts val="300"/>
              </a:spcAft>
            </a:pPr>
            <a:r>
              <a:rPr lang="en-US" sz="1100" b="1" kern="0" dirty="0">
                <a:cs typeface="Arial" charset="0"/>
              </a:rPr>
              <a:t>ORAN expert</a:t>
            </a:r>
            <a:endParaRPr lang="en-US" sz="1100" dirty="0"/>
          </a:p>
        </p:txBody>
      </p:sp>
      <p:sp>
        <p:nvSpPr>
          <p:cNvPr id="34" name="TextBox 33"/>
          <p:cNvSpPr txBox="1"/>
          <p:nvPr/>
        </p:nvSpPr>
        <p:spPr>
          <a:xfrm>
            <a:off x="3424936" y="4183518"/>
            <a:ext cx="651524" cy="590264"/>
          </a:xfrm>
          <a:prstGeom prst="rect">
            <a:avLst/>
          </a:prstGeom>
          <a:noFill/>
        </p:spPr>
        <p:txBody>
          <a:bodyPr wrap="none" lIns="0" tIns="0" rIns="0" bIns="0" rtlCol="0">
            <a:noAutofit/>
          </a:bodyPr>
          <a:lstStyle/>
          <a:p>
            <a:pPr algn="r">
              <a:spcAft>
                <a:spcPts val="952"/>
              </a:spcAft>
            </a:pPr>
            <a:r>
              <a:rPr lang="en-US" sz="3200" b="1" dirty="0">
                <a:solidFill>
                  <a:schemeClr val="accent5"/>
                </a:solidFill>
              </a:rPr>
              <a:t>03</a:t>
            </a:r>
          </a:p>
        </p:txBody>
      </p:sp>
      <p:cxnSp>
        <p:nvCxnSpPr>
          <p:cNvPr id="35" name="Straight Connector 34"/>
          <p:cNvCxnSpPr/>
          <p:nvPr/>
        </p:nvCxnSpPr>
        <p:spPr>
          <a:xfrm flipV="1">
            <a:off x="4214301" y="4259710"/>
            <a:ext cx="0" cy="118020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7" name="Rectangle 36"/>
          <p:cNvSpPr/>
          <p:nvPr/>
        </p:nvSpPr>
        <p:spPr>
          <a:xfrm>
            <a:off x="635616" y="5268809"/>
            <a:ext cx="3426389" cy="169277"/>
          </a:xfrm>
          <a:prstGeom prst="rect">
            <a:avLst/>
          </a:prstGeom>
        </p:spPr>
        <p:txBody>
          <a:bodyPr wrap="square" lIns="0" tIns="0" rIns="0" bIns="0" anchor="b">
            <a:spAutoFit/>
          </a:bodyPr>
          <a:lstStyle/>
          <a:p>
            <a:pPr algn="r">
              <a:spcAft>
                <a:spcPts val="300"/>
              </a:spcAft>
            </a:pPr>
            <a:r>
              <a:rPr lang="en-US" sz="1100" b="1" kern="0" dirty="0">
                <a:cs typeface="Arial" charset="0"/>
              </a:rPr>
              <a:t>Radio Access Network engineer</a:t>
            </a:r>
            <a:endParaRPr lang="en-US" sz="1100" dirty="0"/>
          </a:p>
        </p:txBody>
      </p:sp>
      <p:sp>
        <p:nvSpPr>
          <p:cNvPr id="38" name="TextBox 37"/>
          <p:cNvSpPr txBox="1"/>
          <p:nvPr/>
        </p:nvSpPr>
        <p:spPr>
          <a:xfrm>
            <a:off x="3424936" y="2040062"/>
            <a:ext cx="651524" cy="590264"/>
          </a:xfrm>
          <a:prstGeom prst="rect">
            <a:avLst/>
          </a:prstGeom>
          <a:noFill/>
        </p:spPr>
        <p:txBody>
          <a:bodyPr wrap="none" lIns="0" tIns="0" rIns="0" bIns="0" rtlCol="0">
            <a:noAutofit/>
          </a:bodyPr>
          <a:lstStyle/>
          <a:p>
            <a:pPr algn="r">
              <a:spcAft>
                <a:spcPts val="952"/>
              </a:spcAft>
            </a:pPr>
            <a:r>
              <a:rPr lang="en-US" sz="3200" b="1" dirty="0">
                <a:solidFill>
                  <a:schemeClr val="accent5"/>
                </a:solidFill>
              </a:rPr>
              <a:t>01</a:t>
            </a:r>
          </a:p>
        </p:txBody>
      </p:sp>
      <p:sp>
        <p:nvSpPr>
          <p:cNvPr id="40" name="Freeform 7"/>
          <p:cNvSpPr>
            <a:spLocks noEditPoints="1"/>
          </p:cNvSpPr>
          <p:nvPr/>
        </p:nvSpPr>
        <p:spPr bwMode="auto">
          <a:xfrm>
            <a:off x="8206302" y="3629948"/>
            <a:ext cx="444759" cy="469947"/>
          </a:xfrm>
          <a:custGeom>
            <a:avLst/>
            <a:gdLst>
              <a:gd name="T0" fmla="*/ 1604 w 2366"/>
              <a:gd name="T1" fmla="*/ 86 h 2500"/>
              <a:gd name="T2" fmla="*/ 1726 w 2366"/>
              <a:gd name="T3" fmla="*/ 4 h 2500"/>
              <a:gd name="T4" fmla="*/ 1856 w 2366"/>
              <a:gd name="T5" fmla="*/ 24 h 2500"/>
              <a:gd name="T6" fmla="*/ 1950 w 2366"/>
              <a:gd name="T7" fmla="*/ 136 h 2500"/>
              <a:gd name="T8" fmla="*/ 1944 w 2366"/>
              <a:gd name="T9" fmla="*/ 270 h 2500"/>
              <a:gd name="T10" fmla="*/ 1840 w 2366"/>
              <a:gd name="T11" fmla="*/ 372 h 2500"/>
              <a:gd name="T12" fmla="*/ 1708 w 2366"/>
              <a:gd name="T13" fmla="*/ 380 h 2500"/>
              <a:gd name="T14" fmla="*/ 1594 w 2366"/>
              <a:gd name="T15" fmla="*/ 286 h 2500"/>
              <a:gd name="T16" fmla="*/ 2256 w 2366"/>
              <a:gd name="T17" fmla="*/ 598 h 2500"/>
              <a:gd name="T18" fmla="*/ 2216 w 2366"/>
              <a:gd name="T19" fmla="*/ 522 h 2500"/>
              <a:gd name="T20" fmla="*/ 1892 w 2366"/>
              <a:gd name="T21" fmla="*/ 456 h 2500"/>
              <a:gd name="T22" fmla="*/ 1372 w 2366"/>
              <a:gd name="T23" fmla="*/ 476 h 2500"/>
              <a:gd name="T24" fmla="*/ 1278 w 2366"/>
              <a:gd name="T25" fmla="*/ 586 h 2500"/>
              <a:gd name="T26" fmla="*/ 1412 w 2366"/>
              <a:gd name="T27" fmla="*/ 704 h 2500"/>
              <a:gd name="T28" fmla="*/ 1604 w 2366"/>
              <a:gd name="T29" fmla="*/ 936 h 2500"/>
              <a:gd name="T30" fmla="*/ 1620 w 2366"/>
              <a:gd name="T31" fmla="*/ 1204 h 2500"/>
              <a:gd name="T32" fmla="*/ 1678 w 2366"/>
              <a:gd name="T33" fmla="*/ 1366 h 2500"/>
              <a:gd name="T34" fmla="*/ 1904 w 2366"/>
              <a:gd name="T35" fmla="*/ 1446 h 2500"/>
              <a:gd name="T36" fmla="*/ 2018 w 2366"/>
              <a:gd name="T37" fmla="*/ 780 h 2500"/>
              <a:gd name="T38" fmla="*/ 2216 w 2366"/>
              <a:gd name="T39" fmla="*/ 1356 h 2500"/>
              <a:gd name="T40" fmla="*/ 2320 w 2366"/>
              <a:gd name="T41" fmla="*/ 1354 h 2500"/>
              <a:gd name="T42" fmla="*/ 600 w 2366"/>
              <a:gd name="T43" fmla="*/ 388 h 2500"/>
              <a:gd name="T44" fmla="*/ 724 w 2366"/>
              <a:gd name="T45" fmla="*/ 344 h 2500"/>
              <a:gd name="T46" fmla="*/ 792 w 2366"/>
              <a:gd name="T47" fmla="*/ 214 h 2500"/>
              <a:gd name="T48" fmla="*/ 760 w 2366"/>
              <a:gd name="T49" fmla="*/ 86 h 2500"/>
              <a:gd name="T50" fmla="*/ 640 w 2366"/>
              <a:gd name="T51" fmla="*/ 4 h 2500"/>
              <a:gd name="T52" fmla="*/ 508 w 2366"/>
              <a:gd name="T53" fmla="*/ 24 h 2500"/>
              <a:gd name="T54" fmla="*/ 416 w 2366"/>
              <a:gd name="T55" fmla="*/ 136 h 2500"/>
              <a:gd name="T56" fmla="*/ 422 w 2366"/>
              <a:gd name="T57" fmla="*/ 270 h 2500"/>
              <a:gd name="T58" fmla="*/ 526 w 2366"/>
              <a:gd name="T59" fmla="*/ 372 h 2500"/>
              <a:gd name="T60" fmla="*/ 346 w 2366"/>
              <a:gd name="T61" fmla="*/ 780 h 2500"/>
              <a:gd name="T62" fmla="*/ 438 w 2366"/>
              <a:gd name="T63" fmla="*/ 1464 h 2500"/>
              <a:gd name="T64" fmla="*/ 656 w 2366"/>
              <a:gd name="T65" fmla="*/ 1368 h 2500"/>
              <a:gd name="T66" fmla="*/ 756 w 2366"/>
              <a:gd name="T67" fmla="*/ 1238 h 2500"/>
              <a:gd name="T68" fmla="*/ 748 w 2366"/>
              <a:gd name="T69" fmla="*/ 974 h 2500"/>
              <a:gd name="T70" fmla="*/ 922 w 2366"/>
              <a:gd name="T71" fmla="*/ 726 h 2500"/>
              <a:gd name="T72" fmla="*/ 1088 w 2366"/>
              <a:gd name="T73" fmla="*/ 586 h 2500"/>
              <a:gd name="T74" fmla="*/ 1018 w 2366"/>
              <a:gd name="T75" fmla="*/ 492 h 2500"/>
              <a:gd name="T76" fmla="*/ 474 w 2366"/>
              <a:gd name="T77" fmla="*/ 456 h 2500"/>
              <a:gd name="T78" fmla="*/ 158 w 2366"/>
              <a:gd name="T79" fmla="*/ 512 h 2500"/>
              <a:gd name="T80" fmla="*/ 110 w 2366"/>
              <a:gd name="T81" fmla="*/ 598 h 2500"/>
              <a:gd name="T82" fmla="*/ 46 w 2366"/>
              <a:gd name="T83" fmla="*/ 1354 h 2500"/>
              <a:gd name="T84" fmla="*/ 150 w 2366"/>
              <a:gd name="T85" fmla="*/ 1356 h 2500"/>
              <a:gd name="T86" fmla="*/ 1182 w 2366"/>
              <a:gd name="T87" fmla="*/ 774 h 2500"/>
              <a:gd name="T88" fmla="*/ 956 w 2366"/>
              <a:gd name="T89" fmla="*/ 866 h 2500"/>
              <a:gd name="T90" fmla="*/ 864 w 2366"/>
              <a:gd name="T91" fmla="*/ 1092 h 2500"/>
              <a:gd name="T92" fmla="*/ 936 w 2366"/>
              <a:gd name="T93" fmla="*/ 1296 h 2500"/>
              <a:gd name="T94" fmla="*/ 1150 w 2366"/>
              <a:gd name="T95" fmla="*/ 1410 h 2500"/>
              <a:gd name="T96" fmla="*/ 1362 w 2366"/>
              <a:gd name="T97" fmla="*/ 1358 h 2500"/>
              <a:gd name="T98" fmla="*/ 1496 w 2366"/>
              <a:gd name="T99" fmla="*/ 1158 h 2500"/>
              <a:gd name="T100" fmla="*/ 1464 w 2366"/>
              <a:gd name="T101" fmla="*/ 940 h 2500"/>
              <a:gd name="T102" fmla="*/ 1278 w 2366"/>
              <a:gd name="T103" fmla="*/ 788 h 2500"/>
              <a:gd name="T104" fmla="*/ 1926 w 2366"/>
              <a:gd name="T105" fmla="*/ 1674 h 2500"/>
              <a:gd name="T106" fmla="*/ 1808 w 2366"/>
              <a:gd name="T107" fmla="*/ 1538 h 2500"/>
              <a:gd name="T108" fmla="*/ 1378 w 2366"/>
              <a:gd name="T109" fmla="*/ 1496 h 2500"/>
              <a:gd name="T110" fmla="*/ 622 w 2366"/>
              <a:gd name="T111" fmla="*/ 1510 h 2500"/>
              <a:gd name="T112" fmla="*/ 472 w 2366"/>
              <a:gd name="T113" fmla="*/ 1614 h 2500"/>
              <a:gd name="T114" fmla="*/ 344 w 2366"/>
              <a:gd name="T115" fmla="*/ 2212 h 2500"/>
              <a:gd name="T116" fmla="*/ 628 w 2366"/>
              <a:gd name="T117" fmla="*/ 2384 h 2500"/>
              <a:gd name="T118" fmla="*/ 962 w 2366"/>
              <a:gd name="T119" fmla="*/ 2484 h 2500"/>
              <a:gd name="T120" fmla="*/ 1348 w 2366"/>
              <a:gd name="T121" fmla="*/ 2490 h 2500"/>
              <a:gd name="T122" fmla="*/ 1736 w 2366"/>
              <a:gd name="T123" fmla="*/ 2382 h 2500"/>
              <a:gd name="T124" fmla="*/ 1988 w 2366"/>
              <a:gd name="T125" fmla="*/ 2234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66" h="2500">
                <a:moveTo>
                  <a:pt x="1572" y="194"/>
                </a:moveTo>
                <a:lnTo>
                  <a:pt x="1572" y="194"/>
                </a:lnTo>
                <a:lnTo>
                  <a:pt x="1572" y="174"/>
                </a:lnTo>
                <a:lnTo>
                  <a:pt x="1576" y="156"/>
                </a:lnTo>
                <a:lnTo>
                  <a:pt x="1580" y="136"/>
                </a:lnTo>
                <a:lnTo>
                  <a:pt x="1586" y="120"/>
                </a:lnTo>
                <a:lnTo>
                  <a:pt x="1594" y="102"/>
                </a:lnTo>
                <a:lnTo>
                  <a:pt x="1604" y="86"/>
                </a:lnTo>
                <a:lnTo>
                  <a:pt x="1616" y="72"/>
                </a:lnTo>
                <a:lnTo>
                  <a:pt x="1628" y="58"/>
                </a:lnTo>
                <a:lnTo>
                  <a:pt x="1642" y="46"/>
                </a:lnTo>
                <a:lnTo>
                  <a:pt x="1656" y="34"/>
                </a:lnTo>
                <a:lnTo>
                  <a:pt x="1672" y="24"/>
                </a:lnTo>
                <a:lnTo>
                  <a:pt x="1690" y="16"/>
                </a:lnTo>
                <a:lnTo>
                  <a:pt x="1708" y="10"/>
                </a:lnTo>
                <a:lnTo>
                  <a:pt x="1726" y="4"/>
                </a:lnTo>
                <a:lnTo>
                  <a:pt x="1744" y="2"/>
                </a:lnTo>
                <a:lnTo>
                  <a:pt x="1764" y="0"/>
                </a:lnTo>
                <a:lnTo>
                  <a:pt x="1764" y="0"/>
                </a:lnTo>
                <a:lnTo>
                  <a:pt x="1784" y="2"/>
                </a:lnTo>
                <a:lnTo>
                  <a:pt x="1804" y="4"/>
                </a:lnTo>
                <a:lnTo>
                  <a:pt x="1822" y="10"/>
                </a:lnTo>
                <a:lnTo>
                  <a:pt x="1840" y="16"/>
                </a:lnTo>
                <a:lnTo>
                  <a:pt x="1856" y="24"/>
                </a:lnTo>
                <a:lnTo>
                  <a:pt x="1872" y="34"/>
                </a:lnTo>
                <a:lnTo>
                  <a:pt x="1888" y="46"/>
                </a:lnTo>
                <a:lnTo>
                  <a:pt x="1902" y="58"/>
                </a:lnTo>
                <a:lnTo>
                  <a:pt x="1914" y="72"/>
                </a:lnTo>
                <a:lnTo>
                  <a:pt x="1926" y="86"/>
                </a:lnTo>
                <a:lnTo>
                  <a:pt x="1934" y="102"/>
                </a:lnTo>
                <a:lnTo>
                  <a:pt x="1944" y="120"/>
                </a:lnTo>
                <a:lnTo>
                  <a:pt x="1950" y="136"/>
                </a:lnTo>
                <a:lnTo>
                  <a:pt x="1954" y="156"/>
                </a:lnTo>
                <a:lnTo>
                  <a:pt x="1958" y="174"/>
                </a:lnTo>
                <a:lnTo>
                  <a:pt x="1958" y="194"/>
                </a:lnTo>
                <a:lnTo>
                  <a:pt x="1958" y="194"/>
                </a:lnTo>
                <a:lnTo>
                  <a:pt x="1958" y="214"/>
                </a:lnTo>
                <a:lnTo>
                  <a:pt x="1954" y="234"/>
                </a:lnTo>
                <a:lnTo>
                  <a:pt x="1950" y="252"/>
                </a:lnTo>
                <a:lnTo>
                  <a:pt x="1944" y="270"/>
                </a:lnTo>
                <a:lnTo>
                  <a:pt x="1934" y="286"/>
                </a:lnTo>
                <a:lnTo>
                  <a:pt x="1926" y="302"/>
                </a:lnTo>
                <a:lnTo>
                  <a:pt x="1914" y="318"/>
                </a:lnTo>
                <a:lnTo>
                  <a:pt x="1902" y="332"/>
                </a:lnTo>
                <a:lnTo>
                  <a:pt x="1888" y="344"/>
                </a:lnTo>
                <a:lnTo>
                  <a:pt x="1872" y="356"/>
                </a:lnTo>
                <a:lnTo>
                  <a:pt x="1856" y="364"/>
                </a:lnTo>
                <a:lnTo>
                  <a:pt x="1840" y="372"/>
                </a:lnTo>
                <a:lnTo>
                  <a:pt x="1822" y="380"/>
                </a:lnTo>
                <a:lnTo>
                  <a:pt x="1804" y="384"/>
                </a:lnTo>
                <a:lnTo>
                  <a:pt x="1784" y="388"/>
                </a:lnTo>
                <a:lnTo>
                  <a:pt x="1764" y="388"/>
                </a:lnTo>
                <a:lnTo>
                  <a:pt x="1764" y="388"/>
                </a:lnTo>
                <a:lnTo>
                  <a:pt x="1744" y="388"/>
                </a:lnTo>
                <a:lnTo>
                  <a:pt x="1726" y="384"/>
                </a:lnTo>
                <a:lnTo>
                  <a:pt x="1708" y="380"/>
                </a:lnTo>
                <a:lnTo>
                  <a:pt x="1690" y="372"/>
                </a:lnTo>
                <a:lnTo>
                  <a:pt x="1672" y="364"/>
                </a:lnTo>
                <a:lnTo>
                  <a:pt x="1656" y="356"/>
                </a:lnTo>
                <a:lnTo>
                  <a:pt x="1642" y="344"/>
                </a:lnTo>
                <a:lnTo>
                  <a:pt x="1628" y="332"/>
                </a:lnTo>
                <a:lnTo>
                  <a:pt x="1616" y="318"/>
                </a:lnTo>
                <a:lnTo>
                  <a:pt x="1604" y="302"/>
                </a:lnTo>
                <a:lnTo>
                  <a:pt x="1594" y="286"/>
                </a:lnTo>
                <a:lnTo>
                  <a:pt x="1586" y="270"/>
                </a:lnTo>
                <a:lnTo>
                  <a:pt x="1580" y="252"/>
                </a:lnTo>
                <a:lnTo>
                  <a:pt x="1576" y="234"/>
                </a:lnTo>
                <a:lnTo>
                  <a:pt x="1572" y="214"/>
                </a:lnTo>
                <a:lnTo>
                  <a:pt x="1572" y="194"/>
                </a:lnTo>
                <a:lnTo>
                  <a:pt x="1572" y="194"/>
                </a:lnTo>
                <a:close/>
                <a:moveTo>
                  <a:pt x="2364" y="1252"/>
                </a:moveTo>
                <a:lnTo>
                  <a:pt x="2256" y="598"/>
                </a:lnTo>
                <a:lnTo>
                  <a:pt x="2256" y="598"/>
                </a:lnTo>
                <a:lnTo>
                  <a:pt x="2252" y="586"/>
                </a:lnTo>
                <a:lnTo>
                  <a:pt x="2252" y="586"/>
                </a:lnTo>
                <a:lnTo>
                  <a:pt x="2248" y="572"/>
                </a:lnTo>
                <a:lnTo>
                  <a:pt x="2242" y="558"/>
                </a:lnTo>
                <a:lnTo>
                  <a:pt x="2234" y="546"/>
                </a:lnTo>
                <a:lnTo>
                  <a:pt x="2226" y="534"/>
                </a:lnTo>
                <a:lnTo>
                  <a:pt x="2216" y="522"/>
                </a:lnTo>
                <a:lnTo>
                  <a:pt x="2206" y="512"/>
                </a:lnTo>
                <a:lnTo>
                  <a:pt x="2184" y="492"/>
                </a:lnTo>
                <a:lnTo>
                  <a:pt x="2156" y="476"/>
                </a:lnTo>
                <a:lnTo>
                  <a:pt x="2128" y="466"/>
                </a:lnTo>
                <a:lnTo>
                  <a:pt x="2098" y="458"/>
                </a:lnTo>
                <a:lnTo>
                  <a:pt x="2082" y="456"/>
                </a:lnTo>
                <a:lnTo>
                  <a:pt x="2066" y="456"/>
                </a:lnTo>
                <a:lnTo>
                  <a:pt x="1892" y="456"/>
                </a:lnTo>
                <a:lnTo>
                  <a:pt x="1766" y="674"/>
                </a:lnTo>
                <a:lnTo>
                  <a:pt x="1640" y="456"/>
                </a:lnTo>
                <a:lnTo>
                  <a:pt x="1464" y="456"/>
                </a:lnTo>
                <a:lnTo>
                  <a:pt x="1464" y="456"/>
                </a:lnTo>
                <a:lnTo>
                  <a:pt x="1448" y="456"/>
                </a:lnTo>
                <a:lnTo>
                  <a:pt x="1432" y="458"/>
                </a:lnTo>
                <a:lnTo>
                  <a:pt x="1402" y="466"/>
                </a:lnTo>
                <a:lnTo>
                  <a:pt x="1372" y="476"/>
                </a:lnTo>
                <a:lnTo>
                  <a:pt x="1346" y="492"/>
                </a:lnTo>
                <a:lnTo>
                  <a:pt x="1324" y="512"/>
                </a:lnTo>
                <a:lnTo>
                  <a:pt x="1314" y="522"/>
                </a:lnTo>
                <a:lnTo>
                  <a:pt x="1304" y="534"/>
                </a:lnTo>
                <a:lnTo>
                  <a:pt x="1296" y="546"/>
                </a:lnTo>
                <a:lnTo>
                  <a:pt x="1288" y="558"/>
                </a:lnTo>
                <a:lnTo>
                  <a:pt x="1282" y="572"/>
                </a:lnTo>
                <a:lnTo>
                  <a:pt x="1278" y="586"/>
                </a:lnTo>
                <a:lnTo>
                  <a:pt x="1278" y="586"/>
                </a:lnTo>
                <a:lnTo>
                  <a:pt x="1274" y="598"/>
                </a:lnTo>
                <a:lnTo>
                  <a:pt x="1266" y="650"/>
                </a:lnTo>
                <a:lnTo>
                  <a:pt x="1266" y="650"/>
                </a:lnTo>
                <a:lnTo>
                  <a:pt x="1304" y="660"/>
                </a:lnTo>
                <a:lnTo>
                  <a:pt x="1342" y="672"/>
                </a:lnTo>
                <a:lnTo>
                  <a:pt x="1376" y="686"/>
                </a:lnTo>
                <a:lnTo>
                  <a:pt x="1412" y="704"/>
                </a:lnTo>
                <a:lnTo>
                  <a:pt x="1444" y="726"/>
                </a:lnTo>
                <a:lnTo>
                  <a:pt x="1474" y="750"/>
                </a:lnTo>
                <a:lnTo>
                  <a:pt x="1502" y="776"/>
                </a:lnTo>
                <a:lnTo>
                  <a:pt x="1528" y="804"/>
                </a:lnTo>
                <a:lnTo>
                  <a:pt x="1550" y="834"/>
                </a:lnTo>
                <a:lnTo>
                  <a:pt x="1572" y="866"/>
                </a:lnTo>
                <a:lnTo>
                  <a:pt x="1590" y="900"/>
                </a:lnTo>
                <a:lnTo>
                  <a:pt x="1604" y="936"/>
                </a:lnTo>
                <a:lnTo>
                  <a:pt x="1616" y="974"/>
                </a:lnTo>
                <a:lnTo>
                  <a:pt x="1626" y="1012"/>
                </a:lnTo>
                <a:lnTo>
                  <a:pt x="1632" y="1052"/>
                </a:lnTo>
                <a:lnTo>
                  <a:pt x="1632" y="1092"/>
                </a:lnTo>
                <a:lnTo>
                  <a:pt x="1632" y="1092"/>
                </a:lnTo>
                <a:lnTo>
                  <a:pt x="1632" y="1130"/>
                </a:lnTo>
                <a:lnTo>
                  <a:pt x="1626" y="1168"/>
                </a:lnTo>
                <a:lnTo>
                  <a:pt x="1620" y="1204"/>
                </a:lnTo>
                <a:lnTo>
                  <a:pt x="1608" y="1238"/>
                </a:lnTo>
                <a:lnTo>
                  <a:pt x="1596" y="1272"/>
                </a:lnTo>
                <a:lnTo>
                  <a:pt x="1580" y="1304"/>
                </a:lnTo>
                <a:lnTo>
                  <a:pt x="1562" y="1336"/>
                </a:lnTo>
                <a:lnTo>
                  <a:pt x="1542" y="1364"/>
                </a:lnTo>
                <a:lnTo>
                  <a:pt x="1646" y="1364"/>
                </a:lnTo>
                <a:lnTo>
                  <a:pt x="1646" y="1364"/>
                </a:lnTo>
                <a:lnTo>
                  <a:pt x="1678" y="1366"/>
                </a:lnTo>
                <a:lnTo>
                  <a:pt x="1708" y="1368"/>
                </a:lnTo>
                <a:lnTo>
                  <a:pt x="1740" y="1374"/>
                </a:lnTo>
                <a:lnTo>
                  <a:pt x="1768" y="1382"/>
                </a:lnTo>
                <a:lnTo>
                  <a:pt x="1798" y="1390"/>
                </a:lnTo>
                <a:lnTo>
                  <a:pt x="1826" y="1402"/>
                </a:lnTo>
                <a:lnTo>
                  <a:pt x="1852" y="1414"/>
                </a:lnTo>
                <a:lnTo>
                  <a:pt x="1878" y="1430"/>
                </a:lnTo>
                <a:lnTo>
                  <a:pt x="1904" y="1446"/>
                </a:lnTo>
                <a:lnTo>
                  <a:pt x="1926" y="1464"/>
                </a:lnTo>
                <a:lnTo>
                  <a:pt x="1948" y="1482"/>
                </a:lnTo>
                <a:lnTo>
                  <a:pt x="1970" y="1504"/>
                </a:lnTo>
                <a:lnTo>
                  <a:pt x="1988" y="1526"/>
                </a:lnTo>
                <a:lnTo>
                  <a:pt x="2006" y="1548"/>
                </a:lnTo>
                <a:lnTo>
                  <a:pt x="2022" y="1574"/>
                </a:lnTo>
                <a:lnTo>
                  <a:pt x="2036" y="1600"/>
                </a:lnTo>
                <a:lnTo>
                  <a:pt x="2018" y="780"/>
                </a:lnTo>
                <a:lnTo>
                  <a:pt x="2082" y="780"/>
                </a:lnTo>
                <a:lnTo>
                  <a:pt x="2166" y="1286"/>
                </a:lnTo>
                <a:lnTo>
                  <a:pt x="2166" y="1286"/>
                </a:lnTo>
                <a:lnTo>
                  <a:pt x="2172" y="1304"/>
                </a:lnTo>
                <a:lnTo>
                  <a:pt x="2180" y="1320"/>
                </a:lnTo>
                <a:lnTo>
                  <a:pt x="2190" y="1334"/>
                </a:lnTo>
                <a:lnTo>
                  <a:pt x="2202" y="1346"/>
                </a:lnTo>
                <a:lnTo>
                  <a:pt x="2216" y="1356"/>
                </a:lnTo>
                <a:lnTo>
                  <a:pt x="2232" y="1364"/>
                </a:lnTo>
                <a:lnTo>
                  <a:pt x="2248" y="1368"/>
                </a:lnTo>
                <a:lnTo>
                  <a:pt x="2266" y="1370"/>
                </a:lnTo>
                <a:lnTo>
                  <a:pt x="2266" y="1370"/>
                </a:lnTo>
                <a:lnTo>
                  <a:pt x="2282" y="1368"/>
                </a:lnTo>
                <a:lnTo>
                  <a:pt x="2282" y="1368"/>
                </a:lnTo>
                <a:lnTo>
                  <a:pt x="2302" y="1362"/>
                </a:lnTo>
                <a:lnTo>
                  <a:pt x="2320" y="1354"/>
                </a:lnTo>
                <a:lnTo>
                  <a:pt x="2334" y="1342"/>
                </a:lnTo>
                <a:lnTo>
                  <a:pt x="2348" y="1328"/>
                </a:lnTo>
                <a:lnTo>
                  <a:pt x="2356" y="1310"/>
                </a:lnTo>
                <a:lnTo>
                  <a:pt x="2364" y="1292"/>
                </a:lnTo>
                <a:lnTo>
                  <a:pt x="2366" y="1274"/>
                </a:lnTo>
                <a:lnTo>
                  <a:pt x="2364" y="1252"/>
                </a:lnTo>
                <a:lnTo>
                  <a:pt x="2364" y="1252"/>
                </a:lnTo>
                <a:close/>
                <a:moveTo>
                  <a:pt x="600" y="388"/>
                </a:moveTo>
                <a:lnTo>
                  <a:pt x="600" y="388"/>
                </a:lnTo>
                <a:lnTo>
                  <a:pt x="620" y="388"/>
                </a:lnTo>
                <a:lnTo>
                  <a:pt x="640" y="384"/>
                </a:lnTo>
                <a:lnTo>
                  <a:pt x="658" y="380"/>
                </a:lnTo>
                <a:lnTo>
                  <a:pt x="676" y="372"/>
                </a:lnTo>
                <a:lnTo>
                  <a:pt x="692" y="364"/>
                </a:lnTo>
                <a:lnTo>
                  <a:pt x="708" y="356"/>
                </a:lnTo>
                <a:lnTo>
                  <a:pt x="724" y="344"/>
                </a:lnTo>
                <a:lnTo>
                  <a:pt x="738" y="332"/>
                </a:lnTo>
                <a:lnTo>
                  <a:pt x="750" y="318"/>
                </a:lnTo>
                <a:lnTo>
                  <a:pt x="760" y="302"/>
                </a:lnTo>
                <a:lnTo>
                  <a:pt x="770" y="286"/>
                </a:lnTo>
                <a:lnTo>
                  <a:pt x="778" y="270"/>
                </a:lnTo>
                <a:lnTo>
                  <a:pt x="786" y="252"/>
                </a:lnTo>
                <a:lnTo>
                  <a:pt x="790" y="234"/>
                </a:lnTo>
                <a:lnTo>
                  <a:pt x="792" y="214"/>
                </a:lnTo>
                <a:lnTo>
                  <a:pt x="794" y="194"/>
                </a:lnTo>
                <a:lnTo>
                  <a:pt x="794" y="194"/>
                </a:lnTo>
                <a:lnTo>
                  <a:pt x="792" y="174"/>
                </a:lnTo>
                <a:lnTo>
                  <a:pt x="790" y="156"/>
                </a:lnTo>
                <a:lnTo>
                  <a:pt x="786" y="136"/>
                </a:lnTo>
                <a:lnTo>
                  <a:pt x="778" y="120"/>
                </a:lnTo>
                <a:lnTo>
                  <a:pt x="770" y="102"/>
                </a:lnTo>
                <a:lnTo>
                  <a:pt x="760" y="86"/>
                </a:lnTo>
                <a:lnTo>
                  <a:pt x="750" y="72"/>
                </a:lnTo>
                <a:lnTo>
                  <a:pt x="738" y="58"/>
                </a:lnTo>
                <a:lnTo>
                  <a:pt x="724" y="46"/>
                </a:lnTo>
                <a:lnTo>
                  <a:pt x="708" y="34"/>
                </a:lnTo>
                <a:lnTo>
                  <a:pt x="692" y="24"/>
                </a:lnTo>
                <a:lnTo>
                  <a:pt x="676" y="16"/>
                </a:lnTo>
                <a:lnTo>
                  <a:pt x="658" y="10"/>
                </a:lnTo>
                <a:lnTo>
                  <a:pt x="640" y="4"/>
                </a:lnTo>
                <a:lnTo>
                  <a:pt x="620" y="2"/>
                </a:lnTo>
                <a:lnTo>
                  <a:pt x="600" y="0"/>
                </a:lnTo>
                <a:lnTo>
                  <a:pt x="600" y="0"/>
                </a:lnTo>
                <a:lnTo>
                  <a:pt x="580" y="2"/>
                </a:lnTo>
                <a:lnTo>
                  <a:pt x="562" y="4"/>
                </a:lnTo>
                <a:lnTo>
                  <a:pt x="542" y="10"/>
                </a:lnTo>
                <a:lnTo>
                  <a:pt x="526" y="16"/>
                </a:lnTo>
                <a:lnTo>
                  <a:pt x="508" y="24"/>
                </a:lnTo>
                <a:lnTo>
                  <a:pt x="492" y="34"/>
                </a:lnTo>
                <a:lnTo>
                  <a:pt x="478" y="46"/>
                </a:lnTo>
                <a:lnTo>
                  <a:pt x="464" y="58"/>
                </a:lnTo>
                <a:lnTo>
                  <a:pt x="452" y="72"/>
                </a:lnTo>
                <a:lnTo>
                  <a:pt x="440" y="86"/>
                </a:lnTo>
                <a:lnTo>
                  <a:pt x="430" y="102"/>
                </a:lnTo>
                <a:lnTo>
                  <a:pt x="422" y="120"/>
                </a:lnTo>
                <a:lnTo>
                  <a:pt x="416" y="136"/>
                </a:lnTo>
                <a:lnTo>
                  <a:pt x="410" y="156"/>
                </a:lnTo>
                <a:lnTo>
                  <a:pt x="408" y="174"/>
                </a:lnTo>
                <a:lnTo>
                  <a:pt x="406" y="194"/>
                </a:lnTo>
                <a:lnTo>
                  <a:pt x="406" y="194"/>
                </a:lnTo>
                <a:lnTo>
                  <a:pt x="408" y="214"/>
                </a:lnTo>
                <a:lnTo>
                  <a:pt x="410" y="234"/>
                </a:lnTo>
                <a:lnTo>
                  <a:pt x="416" y="252"/>
                </a:lnTo>
                <a:lnTo>
                  <a:pt x="422" y="270"/>
                </a:lnTo>
                <a:lnTo>
                  <a:pt x="430" y="286"/>
                </a:lnTo>
                <a:lnTo>
                  <a:pt x="440" y="302"/>
                </a:lnTo>
                <a:lnTo>
                  <a:pt x="452" y="318"/>
                </a:lnTo>
                <a:lnTo>
                  <a:pt x="464" y="332"/>
                </a:lnTo>
                <a:lnTo>
                  <a:pt x="478" y="344"/>
                </a:lnTo>
                <a:lnTo>
                  <a:pt x="492" y="356"/>
                </a:lnTo>
                <a:lnTo>
                  <a:pt x="508" y="364"/>
                </a:lnTo>
                <a:lnTo>
                  <a:pt x="526" y="372"/>
                </a:lnTo>
                <a:lnTo>
                  <a:pt x="542" y="380"/>
                </a:lnTo>
                <a:lnTo>
                  <a:pt x="562" y="384"/>
                </a:lnTo>
                <a:lnTo>
                  <a:pt x="580" y="388"/>
                </a:lnTo>
                <a:lnTo>
                  <a:pt x="600" y="388"/>
                </a:lnTo>
                <a:lnTo>
                  <a:pt x="600" y="388"/>
                </a:lnTo>
                <a:close/>
                <a:moveTo>
                  <a:pt x="198" y="1286"/>
                </a:moveTo>
                <a:lnTo>
                  <a:pt x="282" y="780"/>
                </a:lnTo>
                <a:lnTo>
                  <a:pt x="346" y="780"/>
                </a:lnTo>
                <a:lnTo>
                  <a:pt x="330" y="1600"/>
                </a:lnTo>
                <a:lnTo>
                  <a:pt x="330" y="1600"/>
                </a:lnTo>
                <a:lnTo>
                  <a:pt x="344" y="1574"/>
                </a:lnTo>
                <a:lnTo>
                  <a:pt x="358" y="1548"/>
                </a:lnTo>
                <a:lnTo>
                  <a:pt x="376" y="1526"/>
                </a:lnTo>
                <a:lnTo>
                  <a:pt x="396" y="1504"/>
                </a:lnTo>
                <a:lnTo>
                  <a:pt x="416" y="1482"/>
                </a:lnTo>
                <a:lnTo>
                  <a:pt x="438" y="1464"/>
                </a:lnTo>
                <a:lnTo>
                  <a:pt x="462" y="1446"/>
                </a:lnTo>
                <a:lnTo>
                  <a:pt x="486" y="1430"/>
                </a:lnTo>
                <a:lnTo>
                  <a:pt x="512" y="1414"/>
                </a:lnTo>
                <a:lnTo>
                  <a:pt x="540" y="1402"/>
                </a:lnTo>
                <a:lnTo>
                  <a:pt x="568" y="1390"/>
                </a:lnTo>
                <a:lnTo>
                  <a:pt x="596" y="1382"/>
                </a:lnTo>
                <a:lnTo>
                  <a:pt x="626" y="1374"/>
                </a:lnTo>
                <a:lnTo>
                  <a:pt x="656" y="1368"/>
                </a:lnTo>
                <a:lnTo>
                  <a:pt x="688" y="1366"/>
                </a:lnTo>
                <a:lnTo>
                  <a:pt x="718" y="1364"/>
                </a:lnTo>
                <a:lnTo>
                  <a:pt x="824" y="1364"/>
                </a:lnTo>
                <a:lnTo>
                  <a:pt x="824" y="1364"/>
                </a:lnTo>
                <a:lnTo>
                  <a:pt x="804" y="1336"/>
                </a:lnTo>
                <a:lnTo>
                  <a:pt x="786" y="1304"/>
                </a:lnTo>
                <a:lnTo>
                  <a:pt x="770" y="1272"/>
                </a:lnTo>
                <a:lnTo>
                  <a:pt x="756" y="1238"/>
                </a:lnTo>
                <a:lnTo>
                  <a:pt x="746" y="1204"/>
                </a:lnTo>
                <a:lnTo>
                  <a:pt x="738" y="1168"/>
                </a:lnTo>
                <a:lnTo>
                  <a:pt x="734" y="1130"/>
                </a:lnTo>
                <a:lnTo>
                  <a:pt x="732" y="1092"/>
                </a:lnTo>
                <a:lnTo>
                  <a:pt x="732" y="1092"/>
                </a:lnTo>
                <a:lnTo>
                  <a:pt x="734" y="1052"/>
                </a:lnTo>
                <a:lnTo>
                  <a:pt x="740" y="1012"/>
                </a:lnTo>
                <a:lnTo>
                  <a:pt x="748" y="974"/>
                </a:lnTo>
                <a:lnTo>
                  <a:pt x="760" y="936"/>
                </a:lnTo>
                <a:lnTo>
                  <a:pt x="776" y="900"/>
                </a:lnTo>
                <a:lnTo>
                  <a:pt x="794" y="866"/>
                </a:lnTo>
                <a:lnTo>
                  <a:pt x="814" y="834"/>
                </a:lnTo>
                <a:lnTo>
                  <a:pt x="838" y="804"/>
                </a:lnTo>
                <a:lnTo>
                  <a:pt x="864" y="776"/>
                </a:lnTo>
                <a:lnTo>
                  <a:pt x="892" y="750"/>
                </a:lnTo>
                <a:lnTo>
                  <a:pt x="922" y="726"/>
                </a:lnTo>
                <a:lnTo>
                  <a:pt x="954" y="704"/>
                </a:lnTo>
                <a:lnTo>
                  <a:pt x="988" y="686"/>
                </a:lnTo>
                <a:lnTo>
                  <a:pt x="1024" y="672"/>
                </a:lnTo>
                <a:lnTo>
                  <a:pt x="1062" y="660"/>
                </a:lnTo>
                <a:lnTo>
                  <a:pt x="1100" y="650"/>
                </a:lnTo>
                <a:lnTo>
                  <a:pt x="1090" y="598"/>
                </a:lnTo>
                <a:lnTo>
                  <a:pt x="1090" y="598"/>
                </a:lnTo>
                <a:lnTo>
                  <a:pt x="1088" y="586"/>
                </a:lnTo>
                <a:lnTo>
                  <a:pt x="1088" y="586"/>
                </a:lnTo>
                <a:lnTo>
                  <a:pt x="1082" y="572"/>
                </a:lnTo>
                <a:lnTo>
                  <a:pt x="1076" y="558"/>
                </a:lnTo>
                <a:lnTo>
                  <a:pt x="1070" y="546"/>
                </a:lnTo>
                <a:lnTo>
                  <a:pt x="1062" y="534"/>
                </a:lnTo>
                <a:lnTo>
                  <a:pt x="1052" y="522"/>
                </a:lnTo>
                <a:lnTo>
                  <a:pt x="1042" y="512"/>
                </a:lnTo>
                <a:lnTo>
                  <a:pt x="1018" y="492"/>
                </a:lnTo>
                <a:lnTo>
                  <a:pt x="992" y="476"/>
                </a:lnTo>
                <a:lnTo>
                  <a:pt x="964" y="466"/>
                </a:lnTo>
                <a:lnTo>
                  <a:pt x="934" y="458"/>
                </a:lnTo>
                <a:lnTo>
                  <a:pt x="918" y="456"/>
                </a:lnTo>
                <a:lnTo>
                  <a:pt x="902" y="456"/>
                </a:lnTo>
                <a:lnTo>
                  <a:pt x="726" y="456"/>
                </a:lnTo>
                <a:lnTo>
                  <a:pt x="600" y="674"/>
                </a:lnTo>
                <a:lnTo>
                  <a:pt x="474" y="456"/>
                </a:lnTo>
                <a:lnTo>
                  <a:pt x="300" y="456"/>
                </a:lnTo>
                <a:lnTo>
                  <a:pt x="300" y="456"/>
                </a:lnTo>
                <a:lnTo>
                  <a:pt x="284" y="456"/>
                </a:lnTo>
                <a:lnTo>
                  <a:pt x="268" y="458"/>
                </a:lnTo>
                <a:lnTo>
                  <a:pt x="236" y="466"/>
                </a:lnTo>
                <a:lnTo>
                  <a:pt x="208" y="476"/>
                </a:lnTo>
                <a:lnTo>
                  <a:pt x="182" y="492"/>
                </a:lnTo>
                <a:lnTo>
                  <a:pt x="158" y="512"/>
                </a:lnTo>
                <a:lnTo>
                  <a:pt x="148" y="522"/>
                </a:lnTo>
                <a:lnTo>
                  <a:pt x="140" y="534"/>
                </a:lnTo>
                <a:lnTo>
                  <a:pt x="132" y="546"/>
                </a:lnTo>
                <a:lnTo>
                  <a:pt x="124" y="558"/>
                </a:lnTo>
                <a:lnTo>
                  <a:pt x="118" y="572"/>
                </a:lnTo>
                <a:lnTo>
                  <a:pt x="112" y="586"/>
                </a:lnTo>
                <a:lnTo>
                  <a:pt x="112" y="586"/>
                </a:lnTo>
                <a:lnTo>
                  <a:pt x="110" y="598"/>
                </a:lnTo>
                <a:lnTo>
                  <a:pt x="0" y="1252"/>
                </a:lnTo>
                <a:lnTo>
                  <a:pt x="0" y="1252"/>
                </a:lnTo>
                <a:lnTo>
                  <a:pt x="0" y="1274"/>
                </a:lnTo>
                <a:lnTo>
                  <a:pt x="2" y="1292"/>
                </a:lnTo>
                <a:lnTo>
                  <a:pt x="8" y="1310"/>
                </a:lnTo>
                <a:lnTo>
                  <a:pt x="18" y="1328"/>
                </a:lnTo>
                <a:lnTo>
                  <a:pt x="30" y="1342"/>
                </a:lnTo>
                <a:lnTo>
                  <a:pt x="46" y="1354"/>
                </a:lnTo>
                <a:lnTo>
                  <a:pt x="64" y="1362"/>
                </a:lnTo>
                <a:lnTo>
                  <a:pt x="82" y="1368"/>
                </a:lnTo>
                <a:lnTo>
                  <a:pt x="82" y="1368"/>
                </a:lnTo>
                <a:lnTo>
                  <a:pt x="100" y="1370"/>
                </a:lnTo>
                <a:lnTo>
                  <a:pt x="100" y="1370"/>
                </a:lnTo>
                <a:lnTo>
                  <a:pt x="118" y="1368"/>
                </a:lnTo>
                <a:lnTo>
                  <a:pt x="134" y="1364"/>
                </a:lnTo>
                <a:lnTo>
                  <a:pt x="150" y="1356"/>
                </a:lnTo>
                <a:lnTo>
                  <a:pt x="164" y="1346"/>
                </a:lnTo>
                <a:lnTo>
                  <a:pt x="176" y="1334"/>
                </a:lnTo>
                <a:lnTo>
                  <a:pt x="186" y="1320"/>
                </a:lnTo>
                <a:lnTo>
                  <a:pt x="194" y="1304"/>
                </a:lnTo>
                <a:lnTo>
                  <a:pt x="198" y="1286"/>
                </a:lnTo>
                <a:lnTo>
                  <a:pt x="198" y="1286"/>
                </a:lnTo>
                <a:close/>
                <a:moveTo>
                  <a:pt x="1182" y="774"/>
                </a:moveTo>
                <a:lnTo>
                  <a:pt x="1182" y="774"/>
                </a:lnTo>
                <a:lnTo>
                  <a:pt x="1150" y="774"/>
                </a:lnTo>
                <a:lnTo>
                  <a:pt x="1118" y="780"/>
                </a:lnTo>
                <a:lnTo>
                  <a:pt x="1088" y="788"/>
                </a:lnTo>
                <a:lnTo>
                  <a:pt x="1058" y="798"/>
                </a:lnTo>
                <a:lnTo>
                  <a:pt x="1030" y="812"/>
                </a:lnTo>
                <a:lnTo>
                  <a:pt x="1004" y="828"/>
                </a:lnTo>
                <a:lnTo>
                  <a:pt x="980" y="846"/>
                </a:lnTo>
                <a:lnTo>
                  <a:pt x="956" y="866"/>
                </a:lnTo>
                <a:lnTo>
                  <a:pt x="936" y="890"/>
                </a:lnTo>
                <a:lnTo>
                  <a:pt x="918" y="914"/>
                </a:lnTo>
                <a:lnTo>
                  <a:pt x="902" y="940"/>
                </a:lnTo>
                <a:lnTo>
                  <a:pt x="888" y="968"/>
                </a:lnTo>
                <a:lnTo>
                  <a:pt x="878" y="998"/>
                </a:lnTo>
                <a:lnTo>
                  <a:pt x="870" y="1028"/>
                </a:lnTo>
                <a:lnTo>
                  <a:pt x="864" y="1060"/>
                </a:lnTo>
                <a:lnTo>
                  <a:pt x="864" y="1092"/>
                </a:lnTo>
                <a:lnTo>
                  <a:pt x="864" y="1092"/>
                </a:lnTo>
                <a:lnTo>
                  <a:pt x="864" y="1126"/>
                </a:lnTo>
                <a:lnTo>
                  <a:pt x="870" y="1158"/>
                </a:lnTo>
                <a:lnTo>
                  <a:pt x="878" y="1188"/>
                </a:lnTo>
                <a:lnTo>
                  <a:pt x="888" y="1218"/>
                </a:lnTo>
                <a:lnTo>
                  <a:pt x="902" y="1244"/>
                </a:lnTo>
                <a:lnTo>
                  <a:pt x="918" y="1272"/>
                </a:lnTo>
                <a:lnTo>
                  <a:pt x="936" y="1296"/>
                </a:lnTo>
                <a:lnTo>
                  <a:pt x="956" y="1318"/>
                </a:lnTo>
                <a:lnTo>
                  <a:pt x="980" y="1340"/>
                </a:lnTo>
                <a:lnTo>
                  <a:pt x="1004" y="1358"/>
                </a:lnTo>
                <a:lnTo>
                  <a:pt x="1030" y="1374"/>
                </a:lnTo>
                <a:lnTo>
                  <a:pt x="1058" y="1388"/>
                </a:lnTo>
                <a:lnTo>
                  <a:pt x="1088" y="1398"/>
                </a:lnTo>
                <a:lnTo>
                  <a:pt x="1118" y="1406"/>
                </a:lnTo>
                <a:lnTo>
                  <a:pt x="1150" y="1410"/>
                </a:lnTo>
                <a:lnTo>
                  <a:pt x="1182" y="1412"/>
                </a:lnTo>
                <a:lnTo>
                  <a:pt x="1182" y="1412"/>
                </a:lnTo>
                <a:lnTo>
                  <a:pt x="1216" y="1410"/>
                </a:lnTo>
                <a:lnTo>
                  <a:pt x="1246" y="1406"/>
                </a:lnTo>
                <a:lnTo>
                  <a:pt x="1278" y="1398"/>
                </a:lnTo>
                <a:lnTo>
                  <a:pt x="1306" y="1388"/>
                </a:lnTo>
                <a:lnTo>
                  <a:pt x="1334" y="1374"/>
                </a:lnTo>
                <a:lnTo>
                  <a:pt x="1362" y="1358"/>
                </a:lnTo>
                <a:lnTo>
                  <a:pt x="1386" y="1340"/>
                </a:lnTo>
                <a:lnTo>
                  <a:pt x="1408" y="1318"/>
                </a:lnTo>
                <a:lnTo>
                  <a:pt x="1430" y="1296"/>
                </a:lnTo>
                <a:lnTo>
                  <a:pt x="1448" y="1272"/>
                </a:lnTo>
                <a:lnTo>
                  <a:pt x="1464" y="1244"/>
                </a:lnTo>
                <a:lnTo>
                  <a:pt x="1476" y="1218"/>
                </a:lnTo>
                <a:lnTo>
                  <a:pt x="1488" y="1188"/>
                </a:lnTo>
                <a:lnTo>
                  <a:pt x="1496" y="1158"/>
                </a:lnTo>
                <a:lnTo>
                  <a:pt x="1500" y="1126"/>
                </a:lnTo>
                <a:lnTo>
                  <a:pt x="1502" y="1092"/>
                </a:lnTo>
                <a:lnTo>
                  <a:pt x="1502" y="1092"/>
                </a:lnTo>
                <a:lnTo>
                  <a:pt x="1500" y="1060"/>
                </a:lnTo>
                <a:lnTo>
                  <a:pt x="1496" y="1028"/>
                </a:lnTo>
                <a:lnTo>
                  <a:pt x="1488" y="998"/>
                </a:lnTo>
                <a:lnTo>
                  <a:pt x="1476" y="968"/>
                </a:lnTo>
                <a:lnTo>
                  <a:pt x="1464" y="940"/>
                </a:lnTo>
                <a:lnTo>
                  <a:pt x="1448" y="914"/>
                </a:lnTo>
                <a:lnTo>
                  <a:pt x="1430" y="890"/>
                </a:lnTo>
                <a:lnTo>
                  <a:pt x="1408" y="866"/>
                </a:lnTo>
                <a:lnTo>
                  <a:pt x="1386" y="846"/>
                </a:lnTo>
                <a:lnTo>
                  <a:pt x="1362" y="828"/>
                </a:lnTo>
                <a:lnTo>
                  <a:pt x="1334" y="812"/>
                </a:lnTo>
                <a:lnTo>
                  <a:pt x="1306" y="798"/>
                </a:lnTo>
                <a:lnTo>
                  <a:pt x="1278" y="788"/>
                </a:lnTo>
                <a:lnTo>
                  <a:pt x="1246" y="780"/>
                </a:lnTo>
                <a:lnTo>
                  <a:pt x="1216" y="774"/>
                </a:lnTo>
                <a:lnTo>
                  <a:pt x="1182" y="774"/>
                </a:lnTo>
                <a:close/>
                <a:moveTo>
                  <a:pt x="1938" y="1714"/>
                </a:moveTo>
                <a:lnTo>
                  <a:pt x="1938" y="1714"/>
                </a:lnTo>
                <a:lnTo>
                  <a:pt x="1934" y="1696"/>
                </a:lnTo>
                <a:lnTo>
                  <a:pt x="1934" y="1696"/>
                </a:lnTo>
                <a:lnTo>
                  <a:pt x="1926" y="1674"/>
                </a:lnTo>
                <a:lnTo>
                  <a:pt x="1916" y="1654"/>
                </a:lnTo>
                <a:lnTo>
                  <a:pt x="1906" y="1634"/>
                </a:lnTo>
                <a:lnTo>
                  <a:pt x="1892" y="1614"/>
                </a:lnTo>
                <a:lnTo>
                  <a:pt x="1878" y="1598"/>
                </a:lnTo>
                <a:lnTo>
                  <a:pt x="1862" y="1580"/>
                </a:lnTo>
                <a:lnTo>
                  <a:pt x="1846" y="1566"/>
                </a:lnTo>
                <a:lnTo>
                  <a:pt x="1828" y="1552"/>
                </a:lnTo>
                <a:lnTo>
                  <a:pt x="1808" y="1538"/>
                </a:lnTo>
                <a:lnTo>
                  <a:pt x="1786" y="1528"/>
                </a:lnTo>
                <a:lnTo>
                  <a:pt x="1766" y="1518"/>
                </a:lnTo>
                <a:lnTo>
                  <a:pt x="1742" y="1510"/>
                </a:lnTo>
                <a:lnTo>
                  <a:pt x="1720" y="1504"/>
                </a:lnTo>
                <a:lnTo>
                  <a:pt x="1696" y="1500"/>
                </a:lnTo>
                <a:lnTo>
                  <a:pt x="1672" y="1496"/>
                </a:lnTo>
                <a:lnTo>
                  <a:pt x="1646" y="1496"/>
                </a:lnTo>
                <a:lnTo>
                  <a:pt x="1378" y="1496"/>
                </a:lnTo>
                <a:lnTo>
                  <a:pt x="1184" y="1832"/>
                </a:lnTo>
                <a:lnTo>
                  <a:pt x="990" y="1496"/>
                </a:lnTo>
                <a:lnTo>
                  <a:pt x="718" y="1496"/>
                </a:lnTo>
                <a:lnTo>
                  <a:pt x="718" y="1496"/>
                </a:lnTo>
                <a:lnTo>
                  <a:pt x="694" y="1496"/>
                </a:lnTo>
                <a:lnTo>
                  <a:pt x="670" y="1500"/>
                </a:lnTo>
                <a:lnTo>
                  <a:pt x="646" y="1504"/>
                </a:lnTo>
                <a:lnTo>
                  <a:pt x="622" y="1510"/>
                </a:lnTo>
                <a:lnTo>
                  <a:pt x="600" y="1518"/>
                </a:lnTo>
                <a:lnTo>
                  <a:pt x="578" y="1528"/>
                </a:lnTo>
                <a:lnTo>
                  <a:pt x="558" y="1538"/>
                </a:lnTo>
                <a:lnTo>
                  <a:pt x="538" y="1552"/>
                </a:lnTo>
                <a:lnTo>
                  <a:pt x="520" y="1566"/>
                </a:lnTo>
                <a:lnTo>
                  <a:pt x="502" y="1580"/>
                </a:lnTo>
                <a:lnTo>
                  <a:pt x="486" y="1596"/>
                </a:lnTo>
                <a:lnTo>
                  <a:pt x="472" y="1614"/>
                </a:lnTo>
                <a:lnTo>
                  <a:pt x="460" y="1634"/>
                </a:lnTo>
                <a:lnTo>
                  <a:pt x="448" y="1654"/>
                </a:lnTo>
                <a:lnTo>
                  <a:pt x="438" y="1674"/>
                </a:lnTo>
                <a:lnTo>
                  <a:pt x="432" y="1696"/>
                </a:lnTo>
                <a:lnTo>
                  <a:pt x="432" y="1696"/>
                </a:lnTo>
                <a:lnTo>
                  <a:pt x="426" y="1714"/>
                </a:lnTo>
                <a:lnTo>
                  <a:pt x="344" y="2212"/>
                </a:lnTo>
                <a:lnTo>
                  <a:pt x="344" y="2212"/>
                </a:lnTo>
                <a:lnTo>
                  <a:pt x="376" y="2236"/>
                </a:lnTo>
                <a:lnTo>
                  <a:pt x="410" y="2260"/>
                </a:lnTo>
                <a:lnTo>
                  <a:pt x="444" y="2284"/>
                </a:lnTo>
                <a:lnTo>
                  <a:pt x="480" y="2306"/>
                </a:lnTo>
                <a:lnTo>
                  <a:pt x="516" y="2326"/>
                </a:lnTo>
                <a:lnTo>
                  <a:pt x="552" y="2346"/>
                </a:lnTo>
                <a:lnTo>
                  <a:pt x="590" y="2366"/>
                </a:lnTo>
                <a:lnTo>
                  <a:pt x="628" y="2384"/>
                </a:lnTo>
                <a:lnTo>
                  <a:pt x="694" y="1994"/>
                </a:lnTo>
                <a:lnTo>
                  <a:pt x="776" y="1994"/>
                </a:lnTo>
                <a:lnTo>
                  <a:pt x="754" y="2432"/>
                </a:lnTo>
                <a:lnTo>
                  <a:pt x="754" y="2432"/>
                </a:lnTo>
                <a:lnTo>
                  <a:pt x="806" y="2448"/>
                </a:lnTo>
                <a:lnTo>
                  <a:pt x="856" y="2462"/>
                </a:lnTo>
                <a:lnTo>
                  <a:pt x="908" y="2474"/>
                </a:lnTo>
                <a:lnTo>
                  <a:pt x="962" y="2484"/>
                </a:lnTo>
                <a:lnTo>
                  <a:pt x="1016" y="2490"/>
                </a:lnTo>
                <a:lnTo>
                  <a:pt x="1070" y="2496"/>
                </a:lnTo>
                <a:lnTo>
                  <a:pt x="1126" y="2500"/>
                </a:lnTo>
                <a:lnTo>
                  <a:pt x="1180" y="2500"/>
                </a:lnTo>
                <a:lnTo>
                  <a:pt x="1180" y="2500"/>
                </a:lnTo>
                <a:lnTo>
                  <a:pt x="1236" y="2500"/>
                </a:lnTo>
                <a:lnTo>
                  <a:pt x="1292" y="2496"/>
                </a:lnTo>
                <a:lnTo>
                  <a:pt x="1348" y="2490"/>
                </a:lnTo>
                <a:lnTo>
                  <a:pt x="1402" y="2482"/>
                </a:lnTo>
                <a:lnTo>
                  <a:pt x="1454" y="2472"/>
                </a:lnTo>
                <a:lnTo>
                  <a:pt x="1508" y="2460"/>
                </a:lnTo>
                <a:lnTo>
                  <a:pt x="1560" y="2446"/>
                </a:lnTo>
                <a:lnTo>
                  <a:pt x="1610" y="2430"/>
                </a:lnTo>
                <a:lnTo>
                  <a:pt x="1590" y="1994"/>
                </a:lnTo>
                <a:lnTo>
                  <a:pt x="1672" y="1994"/>
                </a:lnTo>
                <a:lnTo>
                  <a:pt x="1736" y="2382"/>
                </a:lnTo>
                <a:lnTo>
                  <a:pt x="1736" y="2382"/>
                </a:lnTo>
                <a:lnTo>
                  <a:pt x="1774" y="2364"/>
                </a:lnTo>
                <a:lnTo>
                  <a:pt x="1812" y="2344"/>
                </a:lnTo>
                <a:lnTo>
                  <a:pt x="1848" y="2324"/>
                </a:lnTo>
                <a:lnTo>
                  <a:pt x="1884" y="2304"/>
                </a:lnTo>
                <a:lnTo>
                  <a:pt x="1920" y="2282"/>
                </a:lnTo>
                <a:lnTo>
                  <a:pt x="1954" y="2258"/>
                </a:lnTo>
                <a:lnTo>
                  <a:pt x="1988" y="2234"/>
                </a:lnTo>
                <a:lnTo>
                  <a:pt x="2020" y="2208"/>
                </a:lnTo>
                <a:lnTo>
                  <a:pt x="1938" y="17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700" tIns="48350" rIns="96700" bIns="48350" numCol="1" anchor="t" anchorCtr="0" compatLnSpc="1">
            <a:prstTxWarp prst="textNoShape">
              <a:avLst/>
            </a:prstTxWarp>
          </a:bodyPr>
          <a:lstStyle/>
          <a:p>
            <a:endParaRPr lang="en-US" sz="2013" dirty="0"/>
          </a:p>
        </p:txBody>
      </p:sp>
    </p:spTree>
    <p:extLst>
      <p:ext uri="{BB962C8B-B14F-4D97-AF65-F5344CB8AC3E}">
        <p14:creationId xmlns:p14="http://schemas.microsoft.com/office/powerpoint/2010/main" val="8393035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5224" y="1679"/>
          <a:ext cx="1679" cy="1679"/>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6" name="Object 5" hidden="1"/>
                      <p:cNvPicPr/>
                      <p:nvPr/>
                    </p:nvPicPr>
                    <p:blipFill>
                      <a:blip r:embed="rId5"/>
                      <a:stretch>
                        <a:fillRect/>
                      </a:stretch>
                    </p:blipFill>
                    <p:spPr>
                      <a:xfrm>
                        <a:off x="5224" y="1679"/>
                        <a:ext cx="1679" cy="1679"/>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DC3BDE3E-52F1-4243-9F02-9910FB94E5B1}"/>
              </a:ext>
            </a:extLst>
          </p:cNvPr>
          <p:cNvSpPr>
            <a:spLocks noGrp="1"/>
          </p:cNvSpPr>
          <p:nvPr>
            <p:ph type="pic" sz="quarter" idx="14"/>
          </p:nvPr>
        </p:nvSpPr>
        <p:spPr/>
      </p:sp>
      <p:sp>
        <p:nvSpPr>
          <p:cNvPr id="2" name="Title 1"/>
          <p:cNvSpPr>
            <a:spLocks noGrp="1"/>
          </p:cNvSpPr>
          <p:nvPr>
            <p:ph type="title"/>
          </p:nvPr>
        </p:nvSpPr>
        <p:spPr>
          <a:xfrm>
            <a:off x="304746" y="540582"/>
            <a:ext cx="5796000" cy="332399"/>
          </a:xfrm>
        </p:spPr>
        <p:txBody>
          <a:bodyPr vert="horz"/>
          <a:lstStyle/>
          <a:p>
            <a:r>
              <a:rPr lang="en-US" dirty="0">
                <a:solidFill>
                  <a:srgbClr val="7030A0"/>
                </a:solidFill>
              </a:rPr>
              <a:t>Agenda</a:t>
            </a:r>
          </a:p>
        </p:txBody>
      </p:sp>
      <p:sp>
        <p:nvSpPr>
          <p:cNvPr id="9" name="Text Placeholder 8">
            <a:extLst>
              <a:ext uri="{FF2B5EF4-FFF2-40B4-BE49-F238E27FC236}">
                <a16:creationId xmlns:a16="http://schemas.microsoft.com/office/drawing/2014/main" id="{55A9F475-1628-4551-9AF3-DE45AFF36A57}"/>
              </a:ext>
            </a:extLst>
          </p:cNvPr>
          <p:cNvSpPr>
            <a:spLocks noGrp="1"/>
          </p:cNvSpPr>
          <p:nvPr>
            <p:ph type="body" sz="quarter" idx="21"/>
          </p:nvPr>
        </p:nvSpPr>
        <p:spPr/>
        <p:txBody>
          <a:bodyPr/>
          <a:lstStyle/>
          <a:p>
            <a:endParaRPr lang="en-US"/>
          </a:p>
        </p:txBody>
      </p:sp>
      <p:graphicFrame>
        <p:nvGraphicFramePr>
          <p:cNvPr id="11" name="Table 10"/>
          <p:cNvGraphicFramePr>
            <a:graphicFrameLocks noGrp="1"/>
          </p:cNvGraphicFramePr>
          <p:nvPr>
            <p:extLst>
              <p:ext uri="{D42A27DB-BD31-4B8C-83A1-F6EECF244321}">
                <p14:modId xmlns:p14="http://schemas.microsoft.com/office/powerpoint/2010/main" val="4214871289"/>
              </p:ext>
            </p:extLst>
          </p:nvPr>
        </p:nvGraphicFramePr>
        <p:xfrm>
          <a:off x="309092" y="1600926"/>
          <a:ext cx="5658681" cy="3910991"/>
        </p:xfrm>
        <a:graphic>
          <a:graphicData uri="http://schemas.openxmlformats.org/drawingml/2006/table">
            <a:tbl>
              <a:tblPr firstRow="1" bandRow="1">
                <a:tableStyleId>{5C22544A-7EE6-4342-B048-85BDC9FD1C3A}</a:tableStyleId>
              </a:tblPr>
              <a:tblGrid>
                <a:gridCol w="436632">
                  <a:extLst>
                    <a:ext uri="{9D8B030D-6E8A-4147-A177-3AD203B41FA5}">
                      <a16:colId xmlns:a16="http://schemas.microsoft.com/office/drawing/2014/main" val="912981487"/>
                    </a:ext>
                  </a:extLst>
                </a:gridCol>
                <a:gridCol w="5222049">
                  <a:extLst>
                    <a:ext uri="{9D8B030D-6E8A-4147-A177-3AD203B41FA5}">
                      <a16:colId xmlns:a16="http://schemas.microsoft.com/office/drawing/2014/main" val="1699494819"/>
                    </a:ext>
                  </a:extLst>
                </a:gridCol>
              </a:tblGrid>
              <a:tr h="558713">
                <a:tc>
                  <a:txBody>
                    <a:bodyPr/>
                    <a:lstStyle/>
                    <a:p>
                      <a:pPr algn="ctr" rtl="0"/>
                      <a:r>
                        <a:rPr lang="en-US" sz="1600" b="1" dirty="0">
                          <a:solidFill>
                            <a:schemeClr val="accent6">
                              <a:lumMod val="50000"/>
                            </a:schemeClr>
                          </a:solidFill>
                        </a:rPr>
                        <a:t>01</a:t>
                      </a:r>
                    </a:p>
                  </a:txBody>
                  <a:tcPr marL="0" marR="96700" marT="48350" marB="48350" anchor="ctr">
                    <a:lnL w="12700" cmpd="sng">
                      <a:noFill/>
                    </a:lnL>
                    <a:lnR w="9525" cap="flat" cmpd="sng" algn="ctr">
                      <a:noFill/>
                      <a:prstDash val="solid"/>
                      <a:round/>
                      <a:headEnd type="none" w="med" len="med"/>
                      <a:tailEnd type="none" w="med" len="med"/>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600" b="0" dirty="0">
                          <a:solidFill>
                            <a:schemeClr val="accent6">
                              <a:lumMod val="50000"/>
                            </a:schemeClr>
                          </a:solidFill>
                        </a:rPr>
                        <a:t>Project Background</a:t>
                      </a:r>
                    </a:p>
                  </a:txBody>
                  <a:tcPr marL="114213" marR="96700" marT="48350" marB="48350" anchor="ctr">
                    <a:lnL w="9525" cap="flat" cmpd="sng" algn="ctr">
                      <a:noFill/>
                      <a:prstDash val="solid"/>
                      <a:round/>
                      <a:headEnd type="none" w="med" len="med"/>
                      <a:tailEnd type="none" w="med" len="med"/>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81700308"/>
                  </a:ext>
                </a:extLst>
              </a:tr>
              <a:tr h="558713">
                <a:tc>
                  <a:txBody>
                    <a:bodyPr/>
                    <a:lstStyle/>
                    <a:p>
                      <a:pPr algn="ctr" rtl="0"/>
                      <a:r>
                        <a:rPr lang="en-US" sz="1600" b="1" dirty="0">
                          <a:solidFill>
                            <a:schemeClr val="tx1"/>
                          </a:solidFill>
                        </a:rPr>
                        <a:t>02</a:t>
                      </a:r>
                    </a:p>
                  </a:txBody>
                  <a:tcPr marL="0" marR="96700" marT="48350" marB="48350" anchor="ctr">
                    <a:lnL w="12700" cmpd="sng">
                      <a:noFill/>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dirty="0"/>
                        <a:t>ORAN Strategy</a:t>
                      </a:r>
                    </a:p>
                  </a:txBody>
                  <a:tcPr marL="114213" marR="96700" marT="48350" marB="48350" anchor="ctr">
                    <a:lnL w="9525"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4639587"/>
                  </a:ext>
                </a:extLst>
              </a:tr>
              <a:tr h="558713">
                <a:tc>
                  <a:txBody>
                    <a:bodyPr/>
                    <a:lstStyle/>
                    <a:p>
                      <a:pPr algn="ctr" rtl="0"/>
                      <a:r>
                        <a:rPr lang="en-US" sz="1600" b="1" dirty="0">
                          <a:solidFill>
                            <a:schemeClr val="tx1"/>
                          </a:solidFill>
                        </a:rPr>
                        <a:t>03</a:t>
                      </a:r>
                    </a:p>
                  </a:txBody>
                  <a:tcPr marL="0" marR="96700" marT="48350" marB="48350" anchor="ctr">
                    <a:lnL w="12700" cmpd="sng">
                      <a:noFill/>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66978" rtl="0" eaLnBrk="1" fontAlgn="auto" latinLnBrk="0" hangingPunct="1">
                        <a:lnSpc>
                          <a:spcPct val="100000"/>
                        </a:lnSpc>
                        <a:spcBef>
                          <a:spcPts val="0"/>
                        </a:spcBef>
                        <a:spcAft>
                          <a:spcPts val="0"/>
                        </a:spcAft>
                        <a:buClrTx/>
                        <a:buSzTx/>
                        <a:buFontTx/>
                        <a:buNone/>
                        <a:tabLst/>
                        <a:defRPr/>
                      </a:pPr>
                      <a:r>
                        <a:rPr lang="en-US" sz="1600" dirty="0"/>
                        <a:t>Benefits</a:t>
                      </a:r>
                      <a:r>
                        <a:rPr lang="de-DE" sz="1600" dirty="0"/>
                        <a:t> vs. Challenges</a:t>
                      </a:r>
                      <a:endParaRPr lang="en-US" sz="1600" b="0" dirty="0">
                        <a:solidFill>
                          <a:schemeClr val="tx1"/>
                        </a:solidFill>
                      </a:endParaRPr>
                    </a:p>
                  </a:txBody>
                  <a:tcPr marL="114213" marR="96700" marT="48350" marB="48350" anchor="ctr">
                    <a:lnL w="9525"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74292836"/>
                  </a:ext>
                </a:extLst>
              </a:tr>
              <a:tr h="558713">
                <a:tc>
                  <a:txBody>
                    <a:bodyPr/>
                    <a:lstStyle/>
                    <a:p>
                      <a:pPr algn="ctr" rtl="0"/>
                      <a:r>
                        <a:rPr lang="en-US" sz="1600" b="1" dirty="0">
                          <a:solidFill>
                            <a:schemeClr val="tx1"/>
                          </a:solidFill>
                        </a:rPr>
                        <a:t>04</a:t>
                      </a:r>
                    </a:p>
                  </a:txBody>
                  <a:tcPr marL="0" marR="96700" marT="48350" marB="48350" anchor="ctr">
                    <a:lnL w="12700" cmpd="sng">
                      <a:noFill/>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600" b="0" dirty="0">
                          <a:solidFill>
                            <a:schemeClr val="tx1"/>
                          </a:solidFill>
                        </a:rPr>
                        <a:t>Budget</a:t>
                      </a:r>
                    </a:p>
                  </a:txBody>
                  <a:tcPr marL="114213" marR="96700" marT="48350" marB="48350" anchor="ctr">
                    <a:lnL w="9525"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1150222"/>
                  </a:ext>
                </a:extLst>
              </a:tr>
              <a:tr h="558713">
                <a:tc>
                  <a:txBody>
                    <a:bodyPr/>
                    <a:lstStyle/>
                    <a:p>
                      <a:pPr algn="ctr" rtl="0"/>
                      <a:r>
                        <a:rPr lang="en-US" sz="1600" b="1" dirty="0">
                          <a:solidFill>
                            <a:schemeClr val="tx1"/>
                          </a:solidFill>
                        </a:rPr>
                        <a:t>05</a:t>
                      </a:r>
                    </a:p>
                  </a:txBody>
                  <a:tcPr marL="0" marR="96700" marT="48350" marB="48350" anchor="ctr">
                    <a:lnL w="12700" cmpd="sng">
                      <a:noFill/>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66978" rtl="0" eaLnBrk="1" fontAlgn="auto" latinLnBrk="0" hangingPunct="1">
                        <a:lnSpc>
                          <a:spcPct val="100000"/>
                        </a:lnSpc>
                        <a:spcBef>
                          <a:spcPts val="0"/>
                        </a:spcBef>
                        <a:spcAft>
                          <a:spcPts val="0"/>
                        </a:spcAft>
                        <a:buClrTx/>
                        <a:buSzTx/>
                        <a:buFontTx/>
                        <a:buNone/>
                        <a:tabLst/>
                        <a:defRPr/>
                      </a:pPr>
                      <a:r>
                        <a:rPr lang="en-US" sz="1600" b="0" dirty="0">
                          <a:solidFill>
                            <a:schemeClr val="tx1"/>
                          </a:solidFill>
                        </a:rPr>
                        <a:t> </a:t>
                      </a:r>
                      <a:r>
                        <a:rPr lang="en-US" sz="1600" dirty="0"/>
                        <a:t>Project plan &amp; Expert team</a:t>
                      </a:r>
                      <a:endParaRPr lang="en-US" sz="1600" b="0" dirty="0">
                        <a:solidFill>
                          <a:schemeClr val="tx1"/>
                        </a:solidFill>
                      </a:endParaRPr>
                    </a:p>
                  </a:txBody>
                  <a:tcPr marL="114213" marR="96700" marT="48350" marB="48350" anchor="ctr">
                    <a:lnL w="9525"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52775632"/>
                  </a:ext>
                </a:extLst>
              </a:tr>
              <a:tr h="558713">
                <a:tc>
                  <a:txBody>
                    <a:bodyPr/>
                    <a:lstStyle/>
                    <a:p>
                      <a:pPr algn="ctr" rtl="0"/>
                      <a:r>
                        <a:rPr lang="en-US" sz="1600" b="1" dirty="0">
                          <a:solidFill>
                            <a:schemeClr val="tx1"/>
                          </a:solidFill>
                        </a:rPr>
                        <a:t>06</a:t>
                      </a:r>
                    </a:p>
                  </a:txBody>
                  <a:tcPr marL="0" marR="96700" marT="48350" marB="48350" anchor="ctr">
                    <a:lnL w="12700" cmpd="sng">
                      <a:noFill/>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66978" rtl="0" eaLnBrk="1" fontAlgn="auto" latinLnBrk="0" hangingPunct="1">
                        <a:lnSpc>
                          <a:spcPct val="100000"/>
                        </a:lnSpc>
                        <a:spcBef>
                          <a:spcPts val="0"/>
                        </a:spcBef>
                        <a:spcAft>
                          <a:spcPts val="0"/>
                        </a:spcAft>
                        <a:buClrTx/>
                        <a:buSzTx/>
                        <a:buFontTx/>
                        <a:buNone/>
                        <a:tabLst/>
                        <a:defRPr/>
                      </a:pPr>
                      <a:r>
                        <a:rPr lang="en-US" sz="1600" b="0" dirty="0">
                          <a:solidFill>
                            <a:schemeClr val="tx1"/>
                          </a:solidFill>
                        </a:rPr>
                        <a:t>Recommendation </a:t>
                      </a:r>
                    </a:p>
                  </a:txBody>
                  <a:tcPr marL="114213" marR="96700" marT="48350" marB="48350" anchor="ctr">
                    <a:lnL w="9525"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85919662"/>
                  </a:ext>
                </a:extLst>
              </a:tr>
              <a:tr h="558713">
                <a:tc>
                  <a:txBody>
                    <a:bodyPr/>
                    <a:lstStyle/>
                    <a:p>
                      <a:pPr algn="ctr" rtl="0"/>
                      <a:endParaRPr lang="en-US" sz="1600" b="1" dirty="0">
                        <a:solidFill>
                          <a:schemeClr val="tx1"/>
                        </a:solidFill>
                      </a:endParaRPr>
                    </a:p>
                  </a:txBody>
                  <a:tcPr marL="0" marR="96700" marT="48350" marB="48350" anchor="ctr">
                    <a:lnL w="12700" cmpd="sng">
                      <a:noFill/>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rtl="0"/>
                      <a:endParaRPr lang="en-US" sz="1600" b="0" dirty="0">
                        <a:solidFill>
                          <a:schemeClr val="tx1"/>
                        </a:solidFill>
                      </a:endParaRPr>
                    </a:p>
                  </a:txBody>
                  <a:tcPr marL="114213" marR="96700" marT="48350" marB="48350" anchor="ctr">
                    <a:lnL w="9525"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27571826"/>
                  </a:ext>
                </a:extLst>
              </a:tr>
            </a:tbl>
          </a:graphicData>
        </a:graphic>
      </p:graphicFrame>
      <p:pic>
        <p:nvPicPr>
          <p:cNvPr id="13" name="Picture Placeholder 11"/>
          <p:cNvPicPr>
            <a:picLocks noChangeAspect="1"/>
          </p:cNvPicPr>
          <p:nvPr/>
        </p:nvPicPr>
        <p:blipFill rotWithShape="1">
          <a:blip r:embed="rId6">
            <a:extLst>
              <a:ext uri="{28A0092B-C50C-407E-A947-70E740481C1C}">
                <a14:useLocalDpi xmlns:a14="http://schemas.microsoft.com/office/drawing/2010/main" val="0"/>
              </a:ext>
            </a:extLst>
          </a:blip>
          <a:srcRect l="49578" r="2484"/>
          <a:stretch/>
        </p:blipFill>
        <p:spPr>
          <a:xfrm flipH="1">
            <a:off x="6351184" y="3359"/>
            <a:ext cx="5837274" cy="6854642"/>
          </a:xfrm>
          <a:prstGeom prst="rect">
            <a:avLst/>
          </a:prstGeom>
        </p:spPr>
      </p:pic>
    </p:spTree>
    <p:extLst>
      <p:ext uri="{BB962C8B-B14F-4D97-AF65-F5344CB8AC3E}">
        <p14:creationId xmlns:p14="http://schemas.microsoft.com/office/powerpoint/2010/main" val="38016523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5224" y="1679"/>
          <a:ext cx="1679" cy="1679"/>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3" name="Object 12" hidden="1"/>
                      <p:cNvPicPr/>
                      <p:nvPr/>
                    </p:nvPicPr>
                    <p:blipFill>
                      <a:blip r:embed="rId5"/>
                      <a:stretch>
                        <a:fillRect/>
                      </a:stretch>
                    </p:blipFill>
                    <p:spPr>
                      <a:xfrm>
                        <a:off x="5224" y="1679"/>
                        <a:ext cx="1679" cy="1679"/>
                      </a:xfrm>
                      <a:prstGeom prst="rect">
                        <a:avLst/>
                      </a:prstGeom>
                    </p:spPr>
                  </p:pic>
                </p:oleObj>
              </mc:Fallback>
            </mc:AlternateContent>
          </a:graphicData>
        </a:graphic>
      </p:graphicFrame>
      <p:sp>
        <p:nvSpPr>
          <p:cNvPr id="3" name="Content Placeholder 2"/>
          <p:cNvSpPr>
            <a:spLocks noGrp="1"/>
          </p:cNvSpPr>
          <p:nvPr>
            <p:ph sz="quarter" idx="15"/>
          </p:nvPr>
        </p:nvSpPr>
        <p:spPr>
          <a:xfrm>
            <a:off x="278576" y="1406465"/>
            <a:ext cx="5634419" cy="4395178"/>
          </a:xfrm>
        </p:spPr>
        <p:txBody>
          <a:bodyPr wrap="square">
            <a:spAutoFit/>
          </a:bodyPr>
          <a:lstStyle/>
          <a:p>
            <a:pPr>
              <a:spcAft>
                <a:spcPts val="900"/>
              </a:spcAft>
            </a:pPr>
            <a:r>
              <a:rPr lang="en-US" b="1" dirty="0">
                <a:solidFill>
                  <a:srgbClr val="7030A0"/>
                </a:solidFill>
              </a:rPr>
              <a:t>Background</a:t>
            </a:r>
          </a:p>
          <a:p>
            <a:pPr marL="342900" marR="0" lvl="0" indent="-342900" algn="just" defTabSz="483489" rtl="0" eaLnBrk="1" fontAlgn="auto" latinLnBrk="0" hangingPunct="1">
              <a:lnSpc>
                <a:spcPct val="104000"/>
              </a:lnSpc>
              <a:spcBef>
                <a:spcPts val="1269"/>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err="1">
                <a:ln>
                  <a:noFill/>
                </a:ln>
                <a:solidFill>
                  <a:schemeClr val="bg2">
                    <a:lumMod val="10000"/>
                  </a:schemeClr>
                </a:solidFill>
                <a:effectLst/>
                <a:uLnTx/>
                <a:uFillTx/>
                <a:latin typeface="Arial"/>
                <a:ea typeface="+mn-ea"/>
                <a:cs typeface="Times New Roman" panose="02020603050405020304" pitchFamily="18" charset="0"/>
              </a:rPr>
              <a:t>Omantel</a:t>
            </a:r>
            <a:r>
              <a:rPr kumimoji="0" lang="en-US" sz="1400" b="0" i="0" u="none" strike="noStrike" kern="1200" cap="none" spc="0" normalizeH="0" baseline="0" noProof="0" dirty="0">
                <a:ln>
                  <a:noFill/>
                </a:ln>
                <a:solidFill>
                  <a:schemeClr val="bg2">
                    <a:lumMod val="10000"/>
                  </a:schemeClr>
                </a:solidFill>
                <a:effectLst/>
                <a:uLnTx/>
                <a:uFillTx/>
                <a:latin typeface="Arial"/>
                <a:ea typeface="+mn-ea"/>
                <a:cs typeface="Times New Roman" panose="02020603050405020304" pitchFamily="18" charset="0"/>
              </a:rPr>
              <a:t> currently offers advanced mobile communication services and operates a single RAN solution.</a:t>
            </a:r>
          </a:p>
          <a:p>
            <a:pPr marL="342900" marR="0" lvl="0" indent="-342900" algn="just" defTabSz="483489" rtl="0" eaLnBrk="1" fontAlgn="auto" latinLnBrk="0" hangingPunct="1">
              <a:lnSpc>
                <a:spcPct val="104000"/>
              </a:lnSpc>
              <a:spcBef>
                <a:spcPts val="1269"/>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err="1">
                <a:ln>
                  <a:noFill/>
                </a:ln>
                <a:solidFill>
                  <a:schemeClr val="bg2">
                    <a:lumMod val="10000"/>
                  </a:schemeClr>
                </a:solidFill>
                <a:effectLst/>
                <a:uLnTx/>
                <a:uFillTx/>
                <a:latin typeface="Arial"/>
                <a:ea typeface="+mn-ea"/>
                <a:cs typeface="Times New Roman" panose="02020603050405020304" pitchFamily="18" charset="0"/>
              </a:rPr>
              <a:t>Omantel</a:t>
            </a:r>
            <a:r>
              <a:rPr kumimoji="0" lang="en-US" sz="1400" b="0" i="0" u="none" strike="noStrike" kern="1200" cap="none" spc="0" normalizeH="0" baseline="0" noProof="0" dirty="0">
                <a:ln>
                  <a:noFill/>
                </a:ln>
                <a:solidFill>
                  <a:schemeClr val="bg2">
                    <a:lumMod val="10000"/>
                  </a:schemeClr>
                </a:solidFill>
                <a:effectLst/>
                <a:uLnTx/>
                <a:uFillTx/>
                <a:latin typeface="Arial"/>
                <a:ea typeface="+mn-ea"/>
                <a:cs typeface="Times New Roman" panose="02020603050405020304" pitchFamily="18" charset="0"/>
              </a:rPr>
              <a:t> has renewed and expanded its agreement for next five years.</a:t>
            </a:r>
          </a:p>
          <a:p>
            <a:pPr marL="342900" marR="0" lvl="0" indent="-342900" algn="just" defTabSz="483489" rtl="0" eaLnBrk="1" fontAlgn="auto" latinLnBrk="0" hangingPunct="1">
              <a:lnSpc>
                <a:spcPct val="104000"/>
              </a:lnSpc>
              <a:spcBef>
                <a:spcPts val="1269"/>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chemeClr val="bg2">
                    <a:lumMod val="10000"/>
                  </a:schemeClr>
                </a:solidFill>
                <a:effectLst/>
                <a:uLnTx/>
                <a:uFillTx/>
                <a:latin typeface="Arial"/>
                <a:ea typeface="+mn-ea"/>
                <a:cs typeface="Times New Roman" panose="02020603050405020304" pitchFamily="18" charset="0"/>
              </a:rPr>
              <a:t>Ericsson provides support and managed E2E multivendor operations.</a:t>
            </a:r>
          </a:p>
          <a:p>
            <a:pPr marL="342900" marR="0" lvl="0" indent="-342900" algn="just" defTabSz="483489" rtl="0" eaLnBrk="1" fontAlgn="auto" latinLnBrk="0" hangingPunct="1">
              <a:lnSpc>
                <a:spcPct val="104000"/>
              </a:lnSpc>
              <a:spcBef>
                <a:spcPts val="1269"/>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chemeClr val="bg2">
                    <a:lumMod val="10000"/>
                  </a:schemeClr>
                </a:solidFill>
                <a:effectLst/>
                <a:uLnTx/>
                <a:uFillTx/>
                <a:latin typeface="Arial"/>
                <a:ea typeface="+mn-ea"/>
                <a:cs typeface="Times New Roman" panose="02020603050405020304" pitchFamily="18" charset="0"/>
              </a:rPr>
              <a:t>Field support and maintenance for 2G,3G,4G and 5G access.</a:t>
            </a:r>
          </a:p>
          <a:p>
            <a:pPr marL="342900" marR="0" lvl="0" indent="-342900" algn="just" defTabSz="483489" rtl="0" eaLnBrk="1" fontAlgn="auto" latinLnBrk="0" hangingPunct="1">
              <a:lnSpc>
                <a:spcPct val="104000"/>
              </a:lnSpc>
              <a:spcBef>
                <a:spcPts val="1269"/>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chemeClr val="bg2">
                    <a:lumMod val="10000"/>
                  </a:schemeClr>
                </a:solidFill>
                <a:effectLst/>
                <a:uLnTx/>
                <a:uFillTx/>
                <a:latin typeface="Arial"/>
                <a:ea typeface="+mn-ea"/>
                <a:cs typeface="Times New Roman" panose="02020603050405020304" pitchFamily="18" charset="0"/>
              </a:rPr>
              <a:t>Network Functions Virtualization (NFVI) solutions, provide the highest levels of operation, and maintenance capabilities.</a:t>
            </a:r>
          </a:p>
          <a:p>
            <a:pPr marL="342900" marR="0" lvl="0" indent="-342900" algn="just" defTabSz="483489" rtl="0" eaLnBrk="1" fontAlgn="auto" latinLnBrk="0" hangingPunct="1">
              <a:lnSpc>
                <a:spcPct val="104000"/>
              </a:lnSpc>
              <a:spcBef>
                <a:spcPts val="1269"/>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chemeClr val="bg2">
                    <a:lumMod val="10000"/>
                  </a:schemeClr>
                </a:solidFill>
                <a:effectLst/>
                <a:uLnTx/>
                <a:uFillTx/>
                <a:latin typeface="Arial"/>
                <a:ea typeface="+mn-ea"/>
                <a:cs typeface="Times New Roman" panose="02020603050405020304" pitchFamily="18" charset="0"/>
              </a:rPr>
              <a:t>Automation platforms to allow </a:t>
            </a:r>
            <a:r>
              <a:rPr kumimoji="0" lang="en-US" sz="1400" b="0" i="0" u="none" strike="noStrike" kern="1200" cap="none" spc="0" normalizeH="0" baseline="0" noProof="0" dirty="0" err="1">
                <a:ln>
                  <a:noFill/>
                </a:ln>
                <a:solidFill>
                  <a:schemeClr val="bg2">
                    <a:lumMod val="10000"/>
                  </a:schemeClr>
                </a:solidFill>
                <a:effectLst/>
                <a:uLnTx/>
                <a:uFillTx/>
                <a:latin typeface="Arial"/>
                <a:ea typeface="+mn-ea"/>
                <a:cs typeface="Times New Roman" panose="02020603050405020304" pitchFamily="18" charset="0"/>
              </a:rPr>
              <a:t>Omantel</a:t>
            </a:r>
            <a:r>
              <a:rPr kumimoji="0" lang="en-US" sz="1400" b="0" i="0" u="none" strike="noStrike" kern="1200" cap="none" spc="0" normalizeH="0" baseline="0" noProof="0" dirty="0">
                <a:ln>
                  <a:noFill/>
                </a:ln>
                <a:solidFill>
                  <a:schemeClr val="bg2">
                    <a:lumMod val="10000"/>
                  </a:schemeClr>
                </a:solidFill>
                <a:effectLst/>
                <a:uLnTx/>
                <a:uFillTx/>
                <a:latin typeface="Arial"/>
                <a:ea typeface="+mn-ea"/>
                <a:cs typeface="Times New Roman" panose="02020603050405020304" pitchFamily="18" charset="0"/>
              </a:rPr>
              <a:t> to increase operational network efficiency and further enhance customer experiences for its subscribers.</a:t>
            </a:r>
          </a:p>
          <a:p>
            <a:pPr marL="342900" marR="0" lvl="0" indent="-342900" algn="just" defTabSz="483489" rtl="0" eaLnBrk="1" fontAlgn="auto" latinLnBrk="0" hangingPunct="1">
              <a:lnSpc>
                <a:spcPct val="104000"/>
              </a:lnSpc>
              <a:spcBef>
                <a:spcPts val="1269"/>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chemeClr val="bg2">
                    <a:lumMod val="10000"/>
                  </a:schemeClr>
                </a:solidFill>
                <a:effectLst/>
                <a:uLnTx/>
                <a:uFillTx/>
                <a:latin typeface="Arial"/>
                <a:ea typeface="+mn-ea"/>
                <a:cs typeface="Times New Roman" panose="02020603050405020304" pitchFamily="18" charset="0"/>
              </a:rPr>
              <a:t>Mobile users : 3 Mio. (2G/3G/4G, 5G just launched).</a:t>
            </a:r>
          </a:p>
        </p:txBody>
      </p:sp>
      <p:sp>
        <p:nvSpPr>
          <p:cNvPr id="4" name="Content Placeholder 3"/>
          <p:cNvSpPr>
            <a:spLocks noGrp="1"/>
          </p:cNvSpPr>
          <p:nvPr>
            <p:ph sz="quarter" idx="16"/>
          </p:nvPr>
        </p:nvSpPr>
        <p:spPr>
          <a:xfrm>
            <a:off x="6309091" y="1406465"/>
            <a:ext cx="5561731" cy="2485296"/>
          </a:xfrm>
        </p:spPr>
        <p:txBody>
          <a:bodyPr wrap="square">
            <a:spAutoFit/>
          </a:bodyPr>
          <a:lstStyle/>
          <a:p>
            <a:pPr>
              <a:spcAft>
                <a:spcPts val="900"/>
              </a:spcAft>
            </a:pPr>
            <a:r>
              <a:rPr lang="en-US" b="1" dirty="0">
                <a:solidFill>
                  <a:srgbClr val="7030A0"/>
                </a:solidFill>
              </a:rPr>
              <a:t>Goal</a:t>
            </a:r>
          </a:p>
          <a:p>
            <a:pPr marL="342900" marR="0" lvl="0" indent="-34290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schemeClr val="bg2">
                    <a:lumMod val="10000"/>
                  </a:schemeClr>
                </a:solidFill>
                <a:latin typeface="Arial"/>
                <a:cs typeface="Times New Roman" panose="02020603050405020304" pitchFamily="18" charset="0"/>
              </a:rPr>
              <a:t>Discuss about the </a:t>
            </a:r>
            <a:r>
              <a:rPr kumimoji="0" lang="en-US" sz="1400" b="0" i="0" u="none" strike="noStrike" kern="1200" cap="none" spc="0" normalizeH="0" baseline="0" noProof="0" dirty="0">
                <a:ln>
                  <a:noFill/>
                </a:ln>
                <a:solidFill>
                  <a:schemeClr val="bg2">
                    <a:lumMod val="10000"/>
                  </a:schemeClr>
                </a:solidFill>
                <a:effectLst/>
                <a:uLnTx/>
                <a:uFillTx/>
                <a:latin typeface="Arial"/>
                <a:ea typeface="+mn-ea"/>
                <a:cs typeface="Times New Roman" panose="02020603050405020304" pitchFamily="18" charset="0"/>
              </a:rPr>
              <a:t>development of ORAN strategy and RAN vendor selection for </a:t>
            </a:r>
            <a:r>
              <a:rPr kumimoji="0" lang="en-US" sz="1400" b="0" i="0" u="none" strike="noStrike" kern="1200" cap="none" spc="0" normalizeH="0" baseline="0" noProof="0" dirty="0" err="1">
                <a:ln>
                  <a:noFill/>
                </a:ln>
                <a:solidFill>
                  <a:schemeClr val="bg2">
                    <a:lumMod val="10000"/>
                  </a:schemeClr>
                </a:solidFill>
                <a:effectLst/>
                <a:uLnTx/>
                <a:uFillTx/>
                <a:latin typeface="Arial"/>
                <a:ea typeface="+mn-ea"/>
                <a:cs typeface="Times New Roman" panose="02020603050405020304" pitchFamily="18" charset="0"/>
              </a:rPr>
              <a:t>Omantel</a:t>
            </a:r>
            <a:r>
              <a:rPr kumimoji="0" lang="en-US" sz="1400" b="0" i="0" u="none" strike="noStrike" kern="1200" cap="none" spc="0" normalizeH="0" baseline="0" noProof="0" dirty="0">
                <a:ln>
                  <a:noFill/>
                </a:ln>
                <a:solidFill>
                  <a:schemeClr val="bg2">
                    <a:lumMod val="10000"/>
                  </a:schemeClr>
                </a:solidFill>
                <a:effectLst/>
                <a:uLnTx/>
                <a:uFillTx/>
                <a:latin typeface="Arial"/>
                <a:ea typeface="+mn-ea"/>
                <a:cs typeface="Times New Roman" panose="02020603050405020304" pitchFamily="18" charset="0"/>
              </a:rPr>
              <a:t>.</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bg2">
                  <a:lumMod val="10000"/>
                </a:schemeClr>
              </a:solidFill>
              <a:effectLst/>
              <a:uLnTx/>
              <a:uFillTx/>
              <a:latin typeface="Arial"/>
              <a:ea typeface="+mn-ea"/>
              <a:cs typeface="Times New Roman" panose="02020603050405020304" pitchFamily="18" charset="0"/>
            </a:endParaRPr>
          </a:p>
          <a:p>
            <a:pPr marL="342900" marR="0" lvl="0" indent="-34290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schemeClr val="bg2">
                    <a:lumMod val="10000"/>
                  </a:schemeClr>
                </a:solidFill>
                <a:latin typeface="Arial"/>
                <a:cs typeface="Times New Roman" panose="02020603050405020304" pitchFamily="18" charset="0"/>
              </a:rPr>
              <a:t>D</a:t>
            </a:r>
            <a:r>
              <a:rPr kumimoji="0" lang="en-US" sz="1400" b="0" i="0" u="none" strike="noStrike" kern="1200" cap="none" spc="0" normalizeH="0" baseline="0" noProof="0" dirty="0" err="1">
                <a:ln>
                  <a:noFill/>
                </a:ln>
                <a:solidFill>
                  <a:schemeClr val="bg2">
                    <a:lumMod val="10000"/>
                  </a:schemeClr>
                </a:solidFill>
                <a:effectLst/>
                <a:uLnTx/>
                <a:uFillTx/>
                <a:latin typeface="Arial"/>
                <a:ea typeface="+mn-ea"/>
                <a:cs typeface="Times New Roman" panose="02020603050405020304" pitchFamily="18" charset="0"/>
              </a:rPr>
              <a:t>eploy</a:t>
            </a:r>
            <a:r>
              <a:rPr kumimoji="0" lang="en-US" sz="1400" b="0" i="0" u="none" strike="noStrike" kern="1200" cap="none" spc="0" normalizeH="0" baseline="0" noProof="0" dirty="0">
                <a:ln>
                  <a:noFill/>
                </a:ln>
                <a:solidFill>
                  <a:schemeClr val="bg2">
                    <a:lumMod val="10000"/>
                  </a:schemeClr>
                </a:solidFill>
                <a:effectLst/>
                <a:uLnTx/>
                <a:uFillTx/>
                <a:latin typeface="Arial"/>
                <a:ea typeface="+mn-ea"/>
                <a:cs typeface="Times New Roman" panose="02020603050405020304" pitchFamily="18" charset="0"/>
              </a:rPr>
              <a:t> of ORAN and when and how this will impact managed service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bg2">
                  <a:lumMod val="10000"/>
                </a:schemeClr>
              </a:solidFill>
              <a:effectLst/>
              <a:uLnTx/>
              <a:uFillTx/>
              <a:latin typeface="Arial"/>
              <a:ea typeface="+mn-ea"/>
              <a:cs typeface="Times New Roman" panose="02020603050405020304" pitchFamily="18" charset="0"/>
            </a:endParaRPr>
          </a:p>
          <a:p>
            <a:pPr marL="342900" marR="0" lvl="0" indent="-34290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schemeClr val="bg2">
                    <a:lumMod val="10000"/>
                  </a:schemeClr>
                </a:solidFill>
                <a:latin typeface="Arial"/>
                <a:cs typeface="Times New Roman" panose="02020603050405020304" pitchFamily="18" charset="0"/>
              </a:rPr>
              <a:t>B</a:t>
            </a:r>
            <a:r>
              <a:rPr kumimoji="0" lang="en-US" sz="1400" b="0" i="0" u="none" strike="noStrike" kern="1200" cap="none" spc="0" normalizeH="0" baseline="0" noProof="0" dirty="0" err="1">
                <a:ln>
                  <a:noFill/>
                </a:ln>
                <a:solidFill>
                  <a:schemeClr val="bg2">
                    <a:lumMod val="10000"/>
                  </a:schemeClr>
                </a:solidFill>
                <a:effectLst/>
                <a:uLnTx/>
                <a:uFillTx/>
                <a:latin typeface="Arial"/>
                <a:ea typeface="+mn-ea"/>
                <a:cs typeface="Times New Roman" panose="02020603050405020304" pitchFamily="18" charset="0"/>
              </a:rPr>
              <a:t>udgets</a:t>
            </a:r>
            <a:r>
              <a:rPr kumimoji="0" lang="en-US" sz="1400" b="0" i="0" u="none" strike="noStrike" kern="1200" cap="none" spc="0" normalizeH="0" baseline="0" noProof="0" dirty="0">
                <a:ln>
                  <a:noFill/>
                </a:ln>
                <a:solidFill>
                  <a:schemeClr val="bg2">
                    <a:lumMod val="10000"/>
                  </a:schemeClr>
                </a:solidFill>
                <a:effectLst/>
                <a:uLnTx/>
                <a:uFillTx/>
                <a:latin typeface="Arial"/>
                <a:ea typeface="+mn-ea"/>
                <a:cs typeface="Times New Roman" panose="02020603050405020304" pitchFamily="18" charset="0"/>
              </a:rPr>
              <a:t> and cost estimation to the 5G rollout and the network modernization.</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bg2">
                  <a:lumMod val="10000"/>
                </a:schemeClr>
              </a:solidFill>
              <a:effectLst/>
              <a:uLnTx/>
              <a:uFillTx/>
              <a:latin typeface="Arial"/>
              <a:ea typeface="+mn-ea"/>
              <a:cs typeface="Times New Roman" panose="02020603050405020304" pitchFamily="18" charset="0"/>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chemeClr val="bg2">
                    <a:lumMod val="10000"/>
                  </a:schemeClr>
                </a:solidFill>
                <a:effectLst/>
                <a:uLnTx/>
                <a:uFillTx/>
                <a:latin typeface="Arial"/>
                <a:ea typeface="+mn-ea"/>
                <a:cs typeface="+mn-cs"/>
              </a:rPr>
              <a:t>Project outline and key experts.</a:t>
            </a:r>
          </a:p>
        </p:txBody>
      </p:sp>
      <p:sp>
        <p:nvSpPr>
          <p:cNvPr id="5" name="Title 4"/>
          <p:cNvSpPr>
            <a:spLocks noGrp="1"/>
          </p:cNvSpPr>
          <p:nvPr>
            <p:ph type="title"/>
          </p:nvPr>
        </p:nvSpPr>
        <p:spPr>
          <a:xfrm>
            <a:off x="304747" y="540583"/>
            <a:ext cx="11581528" cy="351506"/>
          </a:xfrm>
        </p:spPr>
        <p:txBody>
          <a:bodyPr vert="horz"/>
          <a:lstStyle/>
          <a:p>
            <a:pPr marL="0" marR="0" lvl="0" indent="0" algn="l" defTabSz="483489"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2538" b="1" i="0" u="none" strike="noStrike" kern="1200" cap="none" spc="0" normalizeH="0" baseline="0" noProof="0" dirty="0" err="1">
                <a:ln>
                  <a:noFill/>
                </a:ln>
                <a:solidFill>
                  <a:srgbClr val="12276E"/>
                </a:solidFill>
                <a:effectLst/>
                <a:uLnTx/>
                <a:uFillTx/>
                <a:latin typeface="Arial"/>
                <a:ea typeface="+mn-ea"/>
                <a:cs typeface="+mn-cs"/>
              </a:rPr>
              <a:t>Omantel</a:t>
            </a:r>
            <a:r>
              <a:rPr kumimoji="0" lang="en-US" sz="2538" b="1" i="0" u="none" strike="noStrike" kern="1200" cap="none" spc="0" normalizeH="0" baseline="0" noProof="0" dirty="0">
                <a:ln>
                  <a:noFill/>
                </a:ln>
                <a:solidFill>
                  <a:srgbClr val="12276E"/>
                </a:solidFill>
                <a:effectLst/>
                <a:uLnTx/>
                <a:uFillTx/>
                <a:latin typeface="Arial"/>
                <a:ea typeface="+mn-ea"/>
                <a:cs typeface="+mn-cs"/>
              </a:rPr>
              <a:t> is the largest mobile operator in Oman</a:t>
            </a:r>
          </a:p>
        </p:txBody>
      </p:sp>
      <p:sp>
        <p:nvSpPr>
          <p:cNvPr id="2" name="Text Placeholder 1">
            <a:extLst>
              <a:ext uri="{FF2B5EF4-FFF2-40B4-BE49-F238E27FC236}">
                <a16:creationId xmlns:a16="http://schemas.microsoft.com/office/drawing/2014/main" id="{941B8F3A-F962-4F98-907E-F5730468AF08}"/>
              </a:ext>
            </a:extLst>
          </p:cNvPr>
          <p:cNvSpPr>
            <a:spLocks noGrp="1"/>
          </p:cNvSpPr>
          <p:nvPr>
            <p:ph type="body" sz="quarter" idx="14"/>
          </p:nvPr>
        </p:nvSpPr>
        <p:spPr>
          <a:xfrm>
            <a:off x="304747" y="188096"/>
            <a:ext cx="11592000" cy="173574"/>
          </a:xfrm>
        </p:spPr>
        <p:txBody>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en-US" sz="1163" b="1" i="0" u="none" strike="noStrike" kern="1200" cap="none" spc="0" normalizeH="0" baseline="0" noProof="0" dirty="0">
                <a:ln>
                  <a:noFill/>
                </a:ln>
                <a:solidFill>
                  <a:srgbClr val="122769"/>
                </a:solidFill>
                <a:effectLst/>
                <a:uLnTx/>
                <a:uFillTx/>
                <a:latin typeface="Arial"/>
                <a:ea typeface="+mn-ea"/>
                <a:cs typeface="+mn-cs"/>
              </a:rPr>
              <a:t>Case Study</a:t>
            </a:r>
          </a:p>
        </p:txBody>
      </p:sp>
      <p:sp>
        <p:nvSpPr>
          <p:cNvPr id="8" name="Text Placeholder 7">
            <a:extLst>
              <a:ext uri="{FF2B5EF4-FFF2-40B4-BE49-F238E27FC236}">
                <a16:creationId xmlns:a16="http://schemas.microsoft.com/office/drawing/2014/main" id="{48EC346A-B872-4381-97A2-116BC5CA6E5E}"/>
              </a:ext>
            </a:extLst>
          </p:cNvPr>
          <p:cNvSpPr>
            <a:spLocks noGrp="1"/>
          </p:cNvSpPr>
          <p:nvPr>
            <p:ph type="body" sz="quarter" idx="21"/>
          </p:nvPr>
        </p:nvSpPr>
        <p:spPr/>
        <p:txBody>
          <a:bodyPr/>
          <a:lstStyle/>
          <a:p>
            <a:endParaRPr lang="en-US"/>
          </a:p>
        </p:txBody>
      </p:sp>
      <p:grpSp>
        <p:nvGrpSpPr>
          <p:cNvPr id="17" name="Group 16"/>
          <p:cNvGrpSpPr/>
          <p:nvPr/>
        </p:nvGrpSpPr>
        <p:grpSpPr>
          <a:xfrm>
            <a:off x="5903246" y="1406465"/>
            <a:ext cx="302896" cy="3446115"/>
            <a:chOff x="5944062" y="1510434"/>
            <a:chExt cx="302896" cy="3446115"/>
          </a:xfrm>
        </p:grpSpPr>
        <p:cxnSp>
          <p:nvCxnSpPr>
            <p:cNvPr id="18" name="Straight Connector 17"/>
            <p:cNvCxnSpPr/>
            <p:nvPr/>
          </p:nvCxnSpPr>
          <p:spPr>
            <a:xfrm>
              <a:off x="6095510" y="1950126"/>
              <a:ext cx="0" cy="3006423"/>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4" name="Group 23"/>
            <p:cNvGrpSpPr/>
            <p:nvPr/>
          </p:nvGrpSpPr>
          <p:grpSpPr>
            <a:xfrm>
              <a:off x="5944062" y="1510434"/>
              <a:ext cx="302896" cy="354673"/>
              <a:chOff x="3937092" y="1531045"/>
              <a:chExt cx="302896" cy="354673"/>
            </a:xfrm>
          </p:grpSpPr>
          <p:sp>
            <p:nvSpPr>
              <p:cNvPr id="26" name="Freeform 345"/>
              <p:cNvSpPr>
                <a:spLocks noEditPoints="1"/>
              </p:cNvSpPr>
              <p:nvPr/>
            </p:nvSpPr>
            <p:spPr bwMode="auto">
              <a:xfrm>
                <a:off x="3999225" y="1531045"/>
                <a:ext cx="240763" cy="354673"/>
              </a:xfrm>
              <a:custGeom>
                <a:avLst/>
                <a:gdLst>
                  <a:gd name="T0" fmla="*/ 95 w 186"/>
                  <a:gd name="T1" fmla="*/ 274 h 274"/>
                  <a:gd name="T2" fmla="*/ 0 w 186"/>
                  <a:gd name="T3" fmla="*/ 274 h 274"/>
                  <a:gd name="T4" fmla="*/ 90 w 186"/>
                  <a:gd name="T5" fmla="*/ 137 h 274"/>
                  <a:gd name="T6" fmla="*/ 0 w 186"/>
                  <a:gd name="T7" fmla="*/ 0 h 274"/>
                  <a:gd name="T8" fmla="*/ 95 w 186"/>
                  <a:gd name="T9" fmla="*/ 0 h 274"/>
                  <a:gd name="T10" fmla="*/ 186 w 186"/>
                  <a:gd name="T11" fmla="*/ 137 h 274"/>
                  <a:gd name="T12" fmla="*/ 95 w 186"/>
                  <a:gd name="T13" fmla="*/ 274 h 274"/>
                  <a:gd name="T14" fmla="*/ 12 w 186"/>
                  <a:gd name="T15" fmla="*/ 266 h 274"/>
                  <a:gd name="T16" fmla="*/ 93 w 186"/>
                  <a:gd name="T17" fmla="*/ 266 h 274"/>
                  <a:gd name="T18" fmla="*/ 176 w 186"/>
                  <a:gd name="T19" fmla="*/ 137 h 274"/>
                  <a:gd name="T20" fmla="*/ 93 w 186"/>
                  <a:gd name="T21" fmla="*/ 8 h 274"/>
                  <a:gd name="T22" fmla="*/ 12 w 186"/>
                  <a:gd name="T23" fmla="*/ 8 h 274"/>
                  <a:gd name="T24" fmla="*/ 98 w 186"/>
                  <a:gd name="T25" fmla="*/ 137 h 274"/>
                  <a:gd name="T26" fmla="*/ 12 w 186"/>
                  <a:gd name="T27" fmla="*/ 266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6" h="274">
                    <a:moveTo>
                      <a:pt x="95" y="274"/>
                    </a:moveTo>
                    <a:lnTo>
                      <a:pt x="0" y="274"/>
                    </a:lnTo>
                    <a:lnTo>
                      <a:pt x="90" y="137"/>
                    </a:lnTo>
                    <a:lnTo>
                      <a:pt x="0" y="0"/>
                    </a:lnTo>
                    <a:lnTo>
                      <a:pt x="95" y="0"/>
                    </a:lnTo>
                    <a:lnTo>
                      <a:pt x="186" y="137"/>
                    </a:lnTo>
                    <a:lnTo>
                      <a:pt x="95" y="274"/>
                    </a:lnTo>
                    <a:close/>
                    <a:moveTo>
                      <a:pt x="12" y="266"/>
                    </a:moveTo>
                    <a:lnTo>
                      <a:pt x="93" y="266"/>
                    </a:lnTo>
                    <a:lnTo>
                      <a:pt x="176" y="137"/>
                    </a:lnTo>
                    <a:lnTo>
                      <a:pt x="93" y="8"/>
                    </a:lnTo>
                    <a:lnTo>
                      <a:pt x="12" y="8"/>
                    </a:lnTo>
                    <a:lnTo>
                      <a:pt x="98" y="137"/>
                    </a:lnTo>
                    <a:lnTo>
                      <a:pt x="12" y="266"/>
                    </a:lnTo>
                    <a:close/>
                  </a:path>
                </a:pathLst>
              </a:custGeom>
              <a:solidFill>
                <a:srgbClr val="1463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67274" rtl="0" eaLnBrk="1" fontAlgn="auto" latinLnBrk="0" hangingPunct="1">
                  <a:lnSpc>
                    <a:spcPct val="100000"/>
                  </a:lnSpc>
                  <a:spcBef>
                    <a:spcPts val="0"/>
                  </a:spcBef>
                  <a:spcAft>
                    <a:spcPts val="0"/>
                  </a:spcAft>
                  <a:buClrTx/>
                  <a:buSzTx/>
                  <a:buFontTx/>
                  <a:buNone/>
                  <a:tabLst/>
                  <a:defRPr/>
                </a:pPr>
                <a:endParaRPr kumimoji="0" lang="en-US" sz="1904" b="0" i="0" u="none" strike="noStrike" kern="1200" cap="none" spc="0" normalizeH="0" baseline="0" noProof="0">
                  <a:ln>
                    <a:noFill/>
                  </a:ln>
                  <a:solidFill>
                    <a:srgbClr val="4D4D4D"/>
                  </a:solidFill>
                  <a:effectLst/>
                  <a:uLnTx/>
                  <a:uFillTx/>
                  <a:latin typeface="Arial"/>
                  <a:ea typeface="+mn-ea"/>
                  <a:cs typeface="+mn-cs"/>
                </a:endParaRPr>
              </a:p>
            </p:txBody>
          </p:sp>
          <p:sp>
            <p:nvSpPr>
              <p:cNvPr id="27" name="Freeform 347"/>
              <p:cNvSpPr>
                <a:spLocks noEditPoints="1"/>
              </p:cNvSpPr>
              <p:nvPr/>
            </p:nvSpPr>
            <p:spPr bwMode="auto">
              <a:xfrm>
                <a:off x="3937092" y="1594472"/>
                <a:ext cx="154037" cy="223936"/>
              </a:xfrm>
              <a:custGeom>
                <a:avLst/>
                <a:gdLst>
                  <a:gd name="T0" fmla="*/ 63 w 119"/>
                  <a:gd name="T1" fmla="*/ 173 h 173"/>
                  <a:gd name="T2" fmla="*/ 0 w 119"/>
                  <a:gd name="T3" fmla="*/ 173 h 173"/>
                  <a:gd name="T4" fmla="*/ 56 w 119"/>
                  <a:gd name="T5" fmla="*/ 88 h 173"/>
                  <a:gd name="T6" fmla="*/ 0 w 119"/>
                  <a:gd name="T7" fmla="*/ 0 h 173"/>
                  <a:gd name="T8" fmla="*/ 63 w 119"/>
                  <a:gd name="T9" fmla="*/ 0 h 173"/>
                  <a:gd name="T10" fmla="*/ 119 w 119"/>
                  <a:gd name="T11" fmla="*/ 88 h 173"/>
                  <a:gd name="T12" fmla="*/ 63 w 119"/>
                  <a:gd name="T13" fmla="*/ 173 h 173"/>
                  <a:gd name="T14" fmla="*/ 14 w 119"/>
                  <a:gd name="T15" fmla="*/ 166 h 173"/>
                  <a:gd name="T16" fmla="*/ 58 w 119"/>
                  <a:gd name="T17" fmla="*/ 166 h 173"/>
                  <a:gd name="T18" fmla="*/ 112 w 119"/>
                  <a:gd name="T19" fmla="*/ 88 h 173"/>
                  <a:gd name="T20" fmla="*/ 58 w 119"/>
                  <a:gd name="T21" fmla="*/ 7 h 173"/>
                  <a:gd name="T22" fmla="*/ 14 w 119"/>
                  <a:gd name="T23" fmla="*/ 7 h 173"/>
                  <a:gd name="T24" fmla="*/ 65 w 119"/>
                  <a:gd name="T25" fmla="*/ 88 h 173"/>
                  <a:gd name="T26" fmla="*/ 14 w 119"/>
                  <a:gd name="T27" fmla="*/ 166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 h="173">
                    <a:moveTo>
                      <a:pt x="63" y="173"/>
                    </a:moveTo>
                    <a:lnTo>
                      <a:pt x="0" y="173"/>
                    </a:lnTo>
                    <a:lnTo>
                      <a:pt x="56" y="88"/>
                    </a:lnTo>
                    <a:lnTo>
                      <a:pt x="0" y="0"/>
                    </a:lnTo>
                    <a:lnTo>
                      <a:pt x="63" y="0"/>
                    </a:lnTo>
                    <a:lnTo>
                      <a:pt x="119" y="88"/>
                    </a:lnTo>
                    <a:lnTo>
                      <a:pt x="63" y="173"/>
                    </a:lnTo>
                    <a:close/>
                    <a:moveTo>
                      <a:pt x="14" y="166"/>
                    </a:moveTo>
                    <a:lnTo>
                      <a:pt x="58" y="166"/>
                    </a:lnTo>
                    <a:lnTo>
                      <a:pt x="112" y="88"/>
                    </a:lnTo>
                    <a:lnTo>
                      <a:pt x="58" y="7"/>
                    </a:lnTo>
                    <a:lnTo>
                      <a:pt x="14" y="7"/>
                    </a:lnTo>
                    <a:lnTo>
                      <a:pt x="65" y="88"/>
                    </a:lnTo>
                    <a:lnTo>
                      <a:pt x="14" y="166"/>
                    </a:lnTo>
                    <a:close/>
                  </a:path>
                </a:pathLst>
              </a:custGeom>
              <a:solidFill>
                <a:srgbClr val="1463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67274" rtl="0" eaLnBrk="1" fontAlgn="auto" latinLnBrk="0" hangingPunct="1">
                  <a:lnSpc>
                    <a:spcPct val="100000"/>
                  </a:lnSpc>
                  <a:spcBef>
                    <a:spcPts val="0"/>
                  </a:spcBef>
                  <a:spcAft>
                    <a:spcPts val="0"/>
                  </a:spcAft>
                  <a:buClrTx/>
                  <a:buSzTx/>
                  <a:buFontTx/>
                  <a:buNone/>
                  <a:tabLst/>
                  <a:defRPr/>
                </a:pPr>
                <a:endParaRPr kumimoji="0" lang="en-US" sz="1904" b="0" i="0" u="none" strike="noStrike" kern="1200" cap="none" spc="0" normalizeH="0" baseline="0" noProof="0">
                  <a:ln>
                    <a:noFill/>
                  </a:ln>
                  <a:solidFill>
                    <a:srgbClr val="4D4D4D"/>
                  </a:solidFill>
                  <a:effectLst/>
                  <a:uLnTx/>
                  <a:uFillTx/>
                  <a:latin typeface="Arial"/>
                  <a:ea typeface="+mn-ea"/>
                  <a:cs typeface="+mn-cs"/>
                </a:endParaRPr>
              </a:p>
            </p:txBody>
          </p:sp>
        </p:grpSp>
      </p:grpSp>
    </p:spTree>
    <p:extLst>
      <p:ext uri="{BB962C8B-B14F-4D97-AF65-F5344CB8AC3E}">
        <p14:creationId xmlns:p14="http://schemas.microsoft.com/office/powerpoint/2010/main" val="30228860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9F70F04-4ED2-D6C0-0253-D620D3EED063}"/>
              </a:ext>
            </a:extLst>
          </p:cNvPr>
          <p:cNvSpPr>
            <a:spLocks noGrp="1"/>
          </p:cNvSpPr>
          <p:nvPr>
            <p:ph type="body" sz="quarter" idx="10"/>
          </p:nvPr>
        </p:nvSpPr>
        <p:spPr/>
        <p:txBody>
          <a:bodyPr/>
          <a:lstStyle/>
          <a:p>
            <a:r>
              <a:rPr lang="en-US" dirty="0"/>
              <a:t>Open RAN</a:t>
            </a:r>
          </a:p>
        </p:txBody>
      </p:sp>
      <p:sp>
        <p:nvSpPr>
          <p:cNvPr id="3" name="Content Placeholder 2">
            <a:extLst>
              <a:ext uri="{FF2B5EF4-FFF2-40B4-BE49-F238E27FC236}">
                <a16:creationId xmlns:a16="http://schemas.microsoft.com/office/drawing/2014/main" id="{F064557E-3A9C-FAD4-7EAA-FC3837EFA77F}"/>
              </a:ext>
            </a:extLst>
          </p:cNvPr>
          <p:cNvSpPr>
            <a:spLocks noGrp="1"/>
          </p:cNvSpPr>
          <p:nvPr>
            <p:ph sz="quarter" idx="13"/>
          </p:nvPr>
        </p:nvSpPr>
        <p:spPr>
          <a:xfrm>
            <a:off x="304746" y="1490990"/>
            <a:ext cx="6428565" cy="4085912"/>
          </a:xfrm>
        </p:spPr>
        <p:txBody>
          <a:bodyPr/>
          <a:lstStyle/>
          <a:p>
            <a:pPr marL="342900" indent="-342900">
              <a:buFont typeface="Arial" panose="020B0604020202020204" pitchFamily="34" charset="0"/>
              <a:buChar char="•"/>
            </a:pPr>
            <a:r>
              <a:rPr lang="en-US" sz="1400" b="0" i="0" dirty="0">
                <a:solidFill>
                  <a:srgbClr val="000000"/>
                </a:solidFill>
                <a:effectLst/>
                <a:cs typeface="Times New Roman" panose="02020603050405020304" pitchFamily="18" charset="0"/>
              </a:rPr>
              <a:t>An Open Radio Access Network (ORAN) is a nonproprietary version of the Radio Access Network (RAN) system that allows interoperation between cellular network equipment provided by different vendors.</a:t>
            </a:r>
          </a:p>
          <a:p>
            <a:pPr marL="342900" indent="-342900">
              <a:buFont typeface="Arial" panose="020B0604020202020204" pitchFamily="34" charset="0"/>
              <a:buChar char="•"/>
            </a:pPr>
            <a:r>
              <a:rPr lang="en-US" sz="1400" b="0" i="0" dirty="0">
                <a:solidFill>
                  <a:srgbClr val="000000"/>
                </a:solidFill>
                <a:effectLst/>
                <a:cs typeface="Times New Roman" panose="02020603050405020304" pitchFamily="18" charset="0"/>
              </a:rPr>
              <a:t>Open RAN enables programmable, intelligent,</a:t>
            </a:r>
            <a:r>
              <a:rPr lang="en-US" sz="1400" b="0" i="0" dirty="0">
                <a:solidFill>
                  <a:schemeClr val="tx2"/>
                </a:solidFill>
                <a:effectLst/>
                <a:cs typeface="Times New Roman" panose="02020603050405020304" pitchFamily="18" charset="0"/>
              </a:rPr>
              <a:t> disaggregated</a:t>
            </a:r>
            <a:r>
              <a:rPr lang="en-US" sz="1400" b="0" i="0" dirty="0">
                <a:solidFill>
                  <a:srgbClr val="000000"/>
                </a:solidFill>
                <a:effectLst/>
                <a:cs typeface="Times New Roman" panose="02020603050405020304" pitchFamily="18" charset="0"/>
              </a:rPr>
              <a:t>, virtualized, and interoperable functions.</a:t>
            </a:r>
          </a:p>
          <a:p>
            <a:pPr marL="342900" indent="-342900">
              <a:buFont typeface="Arial" panose="020B0604020202020204" pitchFamily="34" charset="0"/>
              <a:buChar char="•"/>
            </a:pPr>
            <a:r>
              <a:rPr lang="en-US" sz="1400" dirty="0">
                <a:solidFill>
                  <a:srgbClr val="000000"/>
                </a:solidFill>
                <a:cs typeface="Times New Roman" panose="02020603050405020304" pitchFamily="18" charset="0"/>
              </a:rPr>
              <a:t>In 5G instead of BBU, we have central unit or CU and distributed unit or DU. Fronthaul and backhaul remains same. </a:t>
            </a:r>
            <a:r>
              <a:rPr lang="en-US" sz="1400" dirty="0" err="1">
                <a:solidFill>
                  <a:srgbClr val="000000"/>
                </a:solidFill>
                <a:cs typeface="Times New Roman" panose="02020603050405020304" pitchFamily="18" charset="0"/>
              </a:rPr>
              <a:t>Midhaul</a:t>
            </a:r>
            <a:r>
              <a:rPr lang="en-US" sz="1400" dirty="0">
                <a:solidFill>
                  <a:srgbClr val="000000"/>
                </a:solidFill>
                <a:cs typeface="Times New Roman" panose="02020603050405020304" pitchFamily="18" charset="0"/>
              </a:rPr>
              <a:t> has been introduced to connect CU-DU.</a:t>
            </a:r>
          </a:p>
          <a:p>
            <a:pPr marL="533250" lvl="1" indent="-342900">
              <a:buFont typeface="Wingdings" panose="05000000000000000000" pitchFamily="2" charset="2"/>
              <a:buChar char="ü"/>
            </a:pPr>
            <a:r>
              <a:rPr lang="en-US" sz="1400" dirty="0">
                <a:solidFill>
                  <a:srgbClr val="000000"/>
                </a:solidFill>
                <a:cs typeface="Times New Roman" panose="02020603050405020304" pitchFamily="18" charset="0"/>
              </a:rPr>
              <a:t>Remote</a:t>
            </a:r>
            <a:r>
              <a:rPr lang="en-US" sz="1400" b="0" i="0" dirty="0">
                <a:solidFill>
                  <a:srgbClr val="000000"/>
                </a:solidFill>
                <a:effectLst/>
                <a:cs typeface="Times New Roman" panose="02020603050405020304" pitchFamily="18" charset="0"/>
              </a:rPr>
              <a:t> units (RUs)</a:t>
            </a:r>
          </a:p>
          <a:p>
            <a:pPr marL="533250" lvl="1" indent="-342900">
              <a:buFont typeface="Wingdings" panose="05000000000000000000" pitchFamily="2" charset="2"/>
              <a:buChar char="ü"/>
            </a:pPr>
            <a:r>
              <a:rPr lang="en-US" sz="1400" dirty="0">
                <a:solidFill>
                  <a:srgbClr val="000000"/>
                </a:solidFill>
                <a:cs typeface="Times New Roman" panose="02020603050405020304" pitchFamily="18" charset="0"/>
              </a:rPr>
              <a:t>D</a:t>
            </a:r>
            <a:r>
              <a:rPr lang="en-US" sz="1400" b="0" i="0" dirty="0">
                <a:solidFill>
                  <a:srgbClr val="000000"/>
                </a:solidFill>
                <a:effectLst/>
                <a:cs typeface="Times New Roman" panose="02020603050405020304" pitchFamily="18" charset="0"/>
              </a:rPr>
              <a:t>istributed units (DUs)</a:t>
            </a:r>
            <a:endParaRPr lang="en-US" sz="1400" dirty="0">
              <a:solidFill>
                <a:srgbClr val="000000"/>
              </a:solidFill>
              <a:cs typeface="Times New Roman" panose="02020603050405020304" pitchFamily="18" charset="0"/>
            </a:endParaRPr>
          </a:p>
          <a:p>
            <a:pPr marL="533250" lvl="1" indent="-342900">
              <a:buFont typeface="Wingdings" panose="05000000000000000000" pitchFamily="2" charset="2"/>
              <a:buChar char="ü"/>
            </a:pPr>
            <a:r>
              <a:rPr lang="en-US" sz="1400" b="0" i="0" dirty="0">
                <a:solidFill>
                  <a:srgbClr val="000000"/>
                </a:solidFill>
                <a:effectLst/>
                <a:cs typeface="Times New Roman" panose="02020603050405020304" pitchFamily="18" charset="0"/>
              </a:rPr>
              <a:t>Centralized units (CUs)</a:t>
            </a:r>
          </a:p>
          <a:p>
            <a:pPr marL="342900" indent="-342900">
              <a:buFont typeface="Arial" panose="020B0604020202020204" pitchFamily="34" charset="0"/>
              <a:buChar char="•"/>
            </a:pPr>
            <a:r>
              <a:rPr lang="en-US" sz="1400" dirty="0">
                <a:solidFill>
                  <a:srgbClr val="000000"/>
                </a:solidFill>
                <a:cs typeface="Times New Roman" panose="02020603050405020304" pitchFamily="18" charset="0"/>
              </a:rPr>
              <a:t>M</a:t>
            </a:r>
            <a:r>
              <a:rPr lang="en-US" sz="1400" b="0" i="0" dirty="0">
                <a:solidFill>
                  <a:srgbClr val="000000"/>
                </a:solidFill>
                <a:effectLst/>
                <a:cs typeface="Times New Roman" panose="02020603050405020304" pitchFamily="18" charset="0"/>
              </a:rPr>
              <a:t>any of which can be virtualized or containerized. The interfaces between these new components are open and interoperable.</a:t>
            </a:r>
            <a:endParaRPr lang="en-US" sz="1400" dirty="0">
              <a:solidFill>
                <a:srgbClr val="000000"/>
              </a:solidFill>
              <a:cs typeface="Times New Roman" panose="02020603050405020304" pitchFamily="18" charset="0"/>
            </a:endParaRPr>
          </a:p>
        </p:txBody>
      </p:sp>
      <p:sp>
        <p:nvSpPr>
          <p:cNvPr id="4" name="Footer Placeholder 3">
            <a:extLst>
              <a:ext uri="{FF2B5EF4-FFF2-40B4-BE49-F238E27FC236}">
                <a16:creationId xmlns:a16="http://schemas.microsoft.com/office/drawing/2014/main" id="{5DFC3C3E-DD8F-25A9-FDD3-34101AB26415}"/>
              </a:ext>
            </a:extLst>
          </p:cNvPr>
          <p:cNvSpPr>
            <a:spLocks noGrp="1"/>
          </p:cNvSpPr>
          <p:nvPr>
            <p:ph type="ftr" sz="quarter" idx="3"/>
          </p:nvPr>
        </p:nvSpPr>
        <p:spPr/>
        <p:txBody>
          <a:bodyPr/>
          <a:lstStyle/>
          <a:p>
            <a:r>
              <a:rPr lang="en-US" dirty="0"/>
              <a:t>Case Study</a:t>
            </a:r>
          </a:p>
        </p:txBody>
      </p:sp>
      <p:grpSp>
        <p:nvGrpSpPr>
          <p:cNvPr id="36" name="Group 35">
            <a:extLst>
              <a:ext uri="{FF2B5EF4-FFF2-40B4-BE49-F238E27FC236}">
                <a16:creationId xmlns:a16="http://schemas.microsoft.com/office/drawing/2014/main" id="{3D64120F-2DCF-89B4-1D0E-202DCCDF2033}"/>
              </a:ext>
            </a:extLst>
          </p:cNvPr>
          <p:cNvGrpSpPr/>
          <p:nvPr/>
        </p:nvGrpSpPr>
        <p:grpSpPr>
          <a:xfrm>
            <a:off x="7461614" y="1357878"/>
            <a:ext cx="3111492" cy="4957736"/>
            <a:chOff x="1140783" y="1367507"/>
            <a:chExt cx="2467989" cy="3797282"/>
          </a:xfrm>
        </p:grpSpPr>
        <p:sp>
          <p:nvSpPr>
            <p:cNvPr id="37" name="Rectangle: Rounded Corners 36">
              <a:extLst>
                <a:ext uri="{FF2B5EF4-FFF2-40B4-BE49-F238E27FC236}">
                  <a16:creationId xmlns:a16="http://schemas.microsoft.com/office/drawing/2014/main" id="{48208026-9A22-A04D-6C74-2E095D27A752}"/>
                </a:ext>
              </a:extLst>
            </p:cNvPr>
            <p:cNvSpPr/>
            <p:nvPr/>
          </p:nvSpPr>
          <p:spPr>
            <a:xfrm>
              <a:off x="1140783" y="2612547"/>
              <a:ext cx="2467989" cy="587234"/>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Rounded Corners 37">
              <a:extLst>
                <a:ext uri="{FF2B5EF4-FFF2-40B4-BE49-F238E27FC236}">
                  <a16:creationId xmlns:a16="http://schemas.microsoft.com/office/drawing/2014/main" id="{7C1565AE-19A7-AFC4-9E82-7AC44BF0331F}"/>
                </a:ext>
              </a:extLst>
            </p:cNvPr>
            <p:cNvSpPr/>
            <p:nvPr/>
          </p:nvSpPr>
          <p:spPr>
            <a:xfrm>
              <a:off x="2140179" y="3733389"/>
              <a:ext cx="1468593" cy="222206"/>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Rounded Corners 38">
              <a:extLst>
                <a:ext uri="{FF2B5EF4-FFF2-40B4-BE49-F238E27FC236}">
                  <a16:creationId xmlns:a16="http://schemas.microsoft.com/office/drawing/2014/main" id="{37EB11D2-60D9-9459-AA46-4A3E4888B27E}"/>
                </a:ext>
              </a:extLst>
            </p:cNvPr>
            <p:cNvSpPr/>
            <p:nvPr/>
          </p:nvSpPr>
          <p:spPr>
            <a:xfrm>
              <a:off x="1140783" y="4471971"/>
              <a:ext cx="2445795" cy="273562"/>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Cloud 39">
              <a:extLst>
                <a:ext uri="{FF2B5EF4-FFF2-40B4-BE49-F238E27FC236}">
                  <a16:creationId xmlns:a16="http://schemas.microsoft.com/office/drawing/2014/main" id="{A9DFC6B9-8639-449E-2581-86C3E318EDAA}"/>
                </a:ext>
              </a:extLst>
            </p:cNvPr>
            <p:cNvSpPr/>
            <p:nvPr/>
          </p:nvSpPr>
          <p:spPr>
            <a:xfrm>
              <a:off x="1402673" y="1367507"/>
              <a:ext cx="1757779" cy="934889"/>
            </a:xfrm>
            <a:prstGeom prst="cloud">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4G/5G Core Network</a:t>
              </a:r>
            </a:p>
          </p:txBody>
        </p:sp>
        <p:sp>
          <p:nvSpPr>
            <p:cNvPr id="41" name="Rectangle 40">
              <a:extLst>
                <a:ext uri="{FF2B5EF4-FFF2-40B4-BE49-F238E27FC236}">
                  <a16:creationId xmlns:a16="http://schemas.microsoft.com/office/drawing/2014/main" id="{6BDC7F9C-0CA4-6766-4258-F37ECAA414B7}"/>
                </a:ext>
              </a:extLst>
            </p:cNvPr>
            <p:cNvSpPr/>
            <p:nvPr/>
          </p:nvSpPr>
          <p:spPr>
            <a:xfrm>
              <a:off x="1149836" y="3311215"/>
              <a:ext cx="852256" cy="355107"/>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n w="0"/>
                  <a:solidFill>
                    <a:schemeClr val="tx1"/>
                  </a:solidFill>
                  <a:effectLst>
                    <a:outerShdw blurRad="38100" dist="19050" dir="2700000" algn="tl" rotWithShape="0">
                      <a:schemeClr val="dk1">
                        <a:alpha val="40000"/>
                      </a:schemeClr>
                    </a:outerShdw>
                  </a:effectLst>
                </a:rPr>
                <a:t>BBU</a:t>
              </a:r>
              <a:endParaRPr lang="en-US" dirty="0">
                <a:ln w="0"/>
                <a:solidFill>
                  <a:schemeClr val="tx1"/>
                </a:solidFill>
                <a:effectLst>
                  <a:outerShdw blurRad="38100" dist="19050" dir="2700000" algn="tl" rotWithShape="0">
                    <a:schemeClr val="dk1">
                      <a:alpha val="40000"/>
                    </a:schemeClr>
                  </a:outerShdw>
                </a:effectLst>
              </a:endParaRPr>
            </a:p>
          </p:txBody>
        </p:sp>
        <p:sp>
          <p:nvSpPr>
            <p:cNvPr id="42" name="Rectangle 41">
              <a:extLst>
                <a:ext uri="{FF2B5EF4-FFF2-40B4-BE49-F238E27FC236}">
                  <a16:creationId xmlns:a16="http://schemas.microsoft.com/office/drawing/2014/main" id="{BE89B599-61CA-1D4E-F562-2A2D85745AE3}"/>
                </a:ext>
              </a:extLst>
            </p:cNvPr>
            <p:cNvSpPr/>
            <p:nvPr/>
          </p:nvSpPr>
          <p:spPr>
            <a:xfrm>
              <a:off x="1140783" y="4809682"/>
              <a:ext cx="852256" cy="355107"/>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n w="0"/>
                  <a:solidFill>
                    <a:schemeClr val="tx1"/>
                  </a:solidFill>
                  <a:effectLst>
                    <a:outerShdw blurRad="38100" dist="19050" dir="2700000" algn="tl" rotWithShape="0">
                      <a:schemeClr val="dk1">
                        <a:alpha val="40000"/>
                      </a:schemeClr>
                    </a:outerShdw>
                  </a:effectLst>
                </a:rPr>
                <a:t>RRU</a:t>
              </a:r>
              <a:endParaRPr lang="en-US" dirty="0">
                <a:ln w="0"/>
                <a:solidFill>
                  <a:schemeClr val="tx1"/>
                </a:solidFill>
                <a:effectLst>
                  <a:outerShdw blurRad="38100" dist="19050" dir="2700000" algn="tl" rotWithShape="0">
                    <a:schemeClr val="dk1">
                      <a:alpha val="40000"/>
                    </a:schemeClr>
                  </a:outerShdw>
                </a:effectLst>
              </a:endParaRPr>
            </a:p>
          </p:txBody>
        </p:sp>
        <p:cxnSp>
          <p:nvCxnSpPr>
            <p:cNvPr id="43" name="Straight Arrow Connector 42">
              <a:extLst>
                <a:ext uri="{FF2B5EF4-FFF2-40B4-BE49-F238E27FC236}">
                  <a16:creationId xmlns:a16="http://schemas.microsoft.com/office/drawing/2014/main" id="{D6FAD6E6-41CF-FF84-2011-F154C84227EB}"/>
                </a:ext>
              </a:extLst>
            </p:cNvPr>
            <p:cNvCxnSpPr>
              <a:cxnSpLocks/>
              <a:stCxn id="41" idx="2"/>
              <a:endCxn id="42" idx="0"/>
            </p:cNvCxnSpPr>
            <p:nvPr/>
          </p:nvCxnSpPr>
          <p:spPr>
            <a:xfrm flipH="1">
              <a:off x="1566911" y="3666322"/>
              <a:ext cx="9053" cy="1143360"/>
            </a:xfrm>
            <a:prstGeom prst="straightConnector1">
              <a:avLst/>
            </a:prstGeom>
            <a:ln>
              <a:headEnd type="arrow" w="med" len="med"/>
              <a:tailEnd type="arrow" w="med" len="med"/>
            </a:ln>
          </p:spPr>
          <p:style>
            <a:lnRef idx="2">
              <a:schemeClr val="accent6"/>
            </a:lnRef>
            <a:fillRef idx="0">
              <a:schemeClr val="accent6"/>
            </a:fillRef>
            <a:effectRef idx="1">
              <a:schemeClr val="accent6"/>
            </a:effectRef>
            <a:fontRef idx="minor">
              <a:schemeClr val="tx1"/>
            </a:fontRef>
          </p:style>
        </p:cxnSp>
        <p:cxnSp>
          <p:nvCxnSpPr>
            <p:cNvPr id="44" name="Straight Arrow Connector 43">
              <a:extLst>
                <a:ext uri="{FF2B5EF4-FFF2-40B4-BE49-F238E27FC236}">
                  <a16:creationId xmlns:a16="http://schemas.microsoft.com/office/drawing/2014/main" id="{8A0F14F3-1656-FD25-0CF9-F49CFEFC8135}"/>
                </a:ext>
              </a:extLst>
            </p:cNvPr>
            <p:cNvCxnSpPr>
              <a:cxnSpLocks/>
              <a:stCxn id="40" idx="1"/>
              <a:endCxn id="41" idx="0"/>
            </p:cNvCxnSpPr>
            <p:nvPr/>
          </p:nvCxnSpPr>
          <p:spPr>
            <a:xfrm flipH="1">
              <a:off x="1575964" y="2301401"/>
              <a:ext cx="705599" cy="1009814"/>
            </a:xfrm>
            <a:prstGeom prst="straightConnector1">
              <a:avLst/>
            </a:prstGeom>
            <a:ln>
              <a:headEnd type="arrow" w="med" len="med"/>
              <a:tailEnd type="arrow" w="med" len="med"/>
            </a:ln>
          </p:spPr>
          <p:style>
            <a:lnRef idx="2">
              <a:schemeClr val="accent6"/>
            </a:lnRef>
            <a:fillRef idx="0">
              <a:schemeClr val="accent6"/>
            </a:fillRef>
            <a:effectRef idx="1">
              <a:schemeClr val="accent6"/>
            </a:effectRef>
            <a:fontRef idx="minor">
              <a:schemeClr val="tx1"/>
            </a:fontRef>
          </p:style>
        </p:cxnSp>
        <p:sp>
          <p:nvSpPr>
            <p:cNvPr id="45" name="TextBox 44">
              <a:extLst>
                <a:ext uri="{FF2B5EF4-FFF2-40B4-BE49-F238E27FC236}">
                  <a16:creationId xmlns:a16="http://schemas.microsoft.com/office/drawing/2014/main" id="{23ADEBAC-9A0A-C44F-F78D-A84DA5FD882D}"/>
                </a:ext>
              </a:extLst>
            </p:cNvPr>
            <p:cNvSpPr txBox="1"/>
            <p:nvPr/>
          </p:nvSpPr>
          <p:spPr>
            <a:xfrm>
              <a:off x="2002092" y="2799726"/>
              <a:ext cx="814647" cy="276999"/>
            </a:xfrm>
            <a:prstGeom prst="rect">
              <a:avLst/>
            </a:prstGeom>
            <a:noFill/>
          </p:spPr>
          <p:txBody>
            <a:bodyPr wrap="none" rtlCol="0">
              <a:spAutoFit/>
            </a:bodyPr>
            <a:lstStyle/>
            <a:p>
              <a:r>
                <a:rPr lang="en-US" sz="1200" dirty="0"/>
                <a:t>Backhaul</a:t>
              </a:r>
            </a:p>
          </p:txBody>
        </p:sp>
        <p:sp>
          <p:nvSpPr>
            <p:cNvPr id="46" name="Rectangle 45">
              <a:extLst>
                <a:ext uri="{FF2B5EF4-FFF2-40B4-BE49-F238E27FC236}">
                  <a16:creationId xmlns:a16="http://schemas.microsoft.com/office/drawing/2014/main" id="{FEA5F004-C91B-0941-0D15-8606B764BB39}"/>
                </a:ext>
              </a:extLst>
            </p:cNvPr>
            <p:cNvSpPr/>
            <p:nvPr/>
          </p:nvSpPr>
          <p:spPr>
            <a:xfrm>
              <a:off x="2734324" y="4809681"/>
              <a:ext cx="852256" cy="355107"/>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n w="0"/>
                  <a:solidFill>
                    <a:schemeClr val="tx1"/>
                  </a:solidFill>
                  <a:effectLst>
                    <a:outerShdw blurRad="38100" dist="19050" dir="2700000" algn="tl" rotWithShape="0">
                      <a:schemeClr val="dk1">
                        <a:alpha val="40000"/>
                      </a:schemeClr>
                    </a:outerShdw>
                  </a:effectLst>
                </a:rPr>
                <a:t>RU</a:t>
              </a:r>
              <a:endParaRPr lang="en-US" dirty="0">
                <a:ln w="0"/>
                <a:solidFill>
                  <a:schemeClr val="tx1"/>
                </a:solidFill>
                <a:effectLst>
                  <a:outerShdw blurRad="38100" dist="19050" dir="2700000" algn="tl" rotWithShape="0">
                    <a:schemeClr val="dk1">
                      <a:alpha val="40000"/>
                    </a:schemeClr>
                  </a:outerShdw>
                </a:effectLst>
              </a:endParaRPr>
            </a:p>
          </p:txBody>
        </p:sp>
        <p:sp>
          <p:nvSpPr>
            <p:cNvPr id="47" name="Rectangle 46">
              <a:extLst>
                <a:ext uri="{FF2B5EF4-FFF2-40B4-BE49-F238E27FC236}">
                  <a16:creationId xmlns:a16="http://schemas.microsoft.com/office/drawing/2014/main" id="{8AB597B4-7DBB-1D57-CCB9-624E65AE7504}"/>
                </a:ext>
              </a:extLst>
            </p:cNvPr>
            <p:cNvSpPr/>
            <p:nvPr/>
          </p:nvSpPr>
          <p:spPr>
            <a:xfrm>
              <a:off x="2756516" y="4027217"/>
              <a:ext cx="852256" cy="355107"/>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n w="0"/>
                  <a:solidFill>
                    <a:schemeClr val="tx1"/>
                  </a:solidFill>
                  <a:effectLst>
                    <a:outerShdw blurRad="38100" dist="19050" dir="2700000" algn="tl" rotWithShape="0">
                      <a:schemeClr val="dk1">
                        <a:alpha val="40000"/>
                      </a:schemeClr>
                    </a:outerShdw>
                  </a:effectLst>
                </a:rPr>
                <a:t>DU</a:t>
              </a:r>
              <a:endParaRPr lang="en-US" dirty="0">
                <a:ln w="0"/>
                <a:solidFill>
                  <a:schemeClr val="tx1"/>
                </a:solidFill>
                <a:effectLst>
                  <a:outerShdw blurRad="38100" dist="19050" dir="2700000" algn="tl" rotWithShape="0">
                    <a:schemeClr val="dk1">
                      <a:alpha val="40000"/>
                    </a:schemeClr>
                  </a:outerShdw>
                </a:effectLst>
              </a:endParaRPr>
            </a:p>
          </p:txBody>
        </p:sp>
        <p:sp>
          <p:nvSpPr>
            <p:cNvPr id="48" name="Rectangle 47">
              <a:extLst>
                <a:ext uri="{FF2B5EF4-FFF2-40B4-BE49-F238E27FC236}">
                  <a16:creationId xmlns:a16="http://schemas.microsoft.com/office/drawing/2014/main" id="{6F78510D-D810-AB01-C80A-A20CE13AA9F5}"/>
                </a:ext>
              </a:extLst>
            </p:cNvPr>
            <p:cNvSpPr/>
            <p:nvPr/>
          </p:nvSpPr>
          <p:spPr>
            <a:xfrm>
              <a:off x="2752955" y="3298052"/>
              <a:ext cx="852256" cy="355107"/>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n w="0"/>
                  <a:solidFill>
                    <a:schemeClr val="tx1"/>
                  </a:solidFill>
                  <a:effectLst>
                    <a:outerShdw blurRad="38100" dist="19050" dir="2700000" algn="tl" rotWithShape="0">
                      <a:schemeClr val="dk1">
                        <a:alpha val="40000"/>
                      </a:schemeClr>
                    </a:outerShdw>
                  </a:effectLst>
                </a:rPr>
                <a:t>CU</a:t>
              </a:r>
              <a:endParaRPr lang="en-US" dirty="0">
                <a:ln w="0"/>
                <a:solidFill>
                  <a:schemeClr val="tx1"/>
                </a:solidFill>
                <a:effectLst>
                  <a:outerShdw blurRad="38100" dist="19050" dir="2700000" algn="tl" rotWithShape="0">
                    <a:schemeClr val="dk1">
                      <a:alpha val="40000"/>
                    </a:schemeClr>
                  </a:outerShdw>
                </a:effectLst>
              </a:endParaRPr>
            </a:p>
          </p:txBody>
        </p:sp>
        <p:cxnSp>
          <p:nvCxnSpPr>
            <p:cNvPr id="49" name="Straight Arrow Connector 48">
              <a:extLst>
                <a:ext uri="{FF2B5EF4-FFF2-40B4-BE49-F238E27FC236}">
                  <a16:creationId xmlns:a16="http://schemas.microsoft.com/office/drawing/2014/main" id="{9D01C210-3A42-4ED8-8817-00B29455A0CA}"/>
                </a:ext>
              </a:extLst>
            </p:cNvPr>
            <p:cNvCxnSpPr>
              <a:cxnSpLocks/>
              <a:stCxn id="47" idx="2"/>
              <a:endCxn id="46" idx="0"/>
            </p:cNvCxnSpPr>
            <p:nvPr/>
          </p:nvCxnSpPr>
          <p:spPr>
            <a:xfrm flipH="1">
              <a:off x="3160452" y="4382324"/>
              <a:ext cx="22192" cy="427357"/>
            </a:xfrm>
            <a:prstGeom prst="straightConnector1">
              <a:avLst/>
            </a:prstGeom>
            <a:ln>
              <a:headEnd type="arrow" w="med" len="med"/>
              <a:tailEnd type="arrow" w="med" len="med"/>
            </a:ln>
          </p:spPr>
          <p:style>
            <a:lnRef idx="2">
              <a:schemeClr val="accent6"/>
            </a:lnRef>
            <a:fillRef idx="0">
              <a:schemeClr val="accent6"/>
            </a:fillRef>
            <a:effectRef idx="1">
              <a:schemeClr val="accent6"/>
            </a:effectRef>
            <a:fontRef idx="minor">
              <a:schemeClr val="tx1"/>
            </a:fontRef>
          </p:style>
        </p:cxnSp>
        <p:cxnSp>
          <p:nvCxnSpPr>
            <p:cNvPr id="50" name="Straight Arrow Connector 49">
              <a:extLst>
                <a:ext uri="{FF2B5EF4-FFF2-40B4-BE49-F238E27FC236}">
                  <a16:creationId xmlns:a16="http://schemas.microsoft.com/office/drawing/2014/main" id="{E48D6C99-B61B-D81D-F498-D8C84653ACB4}"/>
                </a:ext>
              </a:extLst>
            </p:cNvPr>
            <p:cNvCxnSpPr>
              <a:cxnSpLocks/>
              <a:stCxn id="48" idx="2"/>
              <a:endCxn id="47" idx="0"/>
            </p:cNvCxnSpPr>
            <p:nvPr/>
          </p:nvCxnSpPr>
          <p:spPr>
            <a:xfrm>
              <a:off x="3179083" y="3653159"/>
              <a:ext cx="3561" cy="374058"/>
            </a:xfrm>
            <a:prstGeom prst="straightConnector1">
              <a:avLst/>
            </a:prstGeom>
            <a:ln>
              <a:headEnd type="arrow" w="med" len="med"/>
              <a:tailEnd type="arrow" w="med" len="med"/>
            </a:ln>
          </p:spPr>
          <p:style>
            <a:lnRef idx="2">
              <a:schemeClr val="accent6"/>
            </a:lnRef>
            <a:fillRef idx="0">
              <a:schemeClr val="accent6"/>
            </a:fillRef>
            <a:effectRef idx="1">
              <a:schemeClr val="accent6"/>
            </a:effectRef>
            <a:fontRef idx="minor">
              <a:schemeClr val="tx1"/>
            </a:fontRef>
          </p:style>
        </p:cxnSp>
        <p:sp>
          <p:nvSpPr>
            <p:cNvPr id="51" name="TextBox 50">
              <a:extLst>
                <a:ext uri="{FF2B5EF4-FFF2-40B4-BE49-F238E27FC236}">
                  <a16:creationId xmlns:a16="http://schemas.microsoft.com/office/drawing/2014/main" id="{39809F1F-A1F5-6149-0683-FF1257EEE1C0}"/>
                </a:ext>
              </a:extLst>
            </p:cNvPr>
            <p:cNvSpPr txBox="1"/>
            <p:nvPr/>
          </p:nvSpPr>
          <p:spPr>
            <a:xfrm>
              <a:off x="2026355" y="4437785"/>
              <a:ext cx="832279" cy="276999"/>
            </a:xfrm>
            <a:prstGeom prst="rect">
              <a:avLst/>
            </a:prstGeom>
            <a:noFill/>
          </p:spPr>
          <p:txBody>
            <a:bodyPr wrap="none" rtlCol="0">
              <a:spAutoFit/>
            </a:bodyPr>
            <a:lstStyle/>
            <a:p>
              <a:r>
                <a:rPr lang="en-US" sz="1200" dirty="0"/>
                <a:t>Fronthaul</a:t>
              </a:r>
            </a:p>
          </p:txBody>
        </p:sp>
        <p:sp>
          <p:nvSpPr>
            <p:cNvPr id="52" name="TextBox 51">
              <a:extLst>
                <a:ext uri="{FF2B5EF4-FFF2-40B4-BE49-F238E27FC236}">
                  <a16:creationId xmlns:a16="http://schemas.microsoft.com/office/drawing/2014/main" id="{286B32CB-05B6-1583-014D-5C1CD49A776E}"/>
                </a:ext>
              </a:extLst>
            </p:cNvPr>
            <p:cNvSpPr txBox="1"/>
            <p:nvPr/>
          </p:nvSpPr>
          <p:spPr>
            <a:xfrm>
              <a:off x="2076773" y="3704476"/>
              <a:ext cx="720069" cy="276999"/>
            </a:xfrm>
            <a:prstGeom prst="rect">
              <a:avLst/>
            </a:prstGeom>
            <a:noFill/>
          </p:spPr>
          <p:txBody>
            <a:bodyPr wrap="none" rtlCol="0">
              <a:spAutoFit/>
            </a:bodyPr>
            <a:lstStyle/>
            <a:p>
              <a:r>
                <a:rPr lang="en-US" sz="1200" dirty="0" err="1"/>
                <a:t>Midhaul</a:t>
              </a:r>
              <a:endParaRPr lang="en-US" sz="1200" dirty="0"/>
            </a:p>
          </p:txBody>
        </p:sp>
        <p:cxnSp>
          <p:nvCxnSpPr>
            <p:cNvPr id="53" name="Straight Arrow Connector 52">
              <a:extLst>
                <a:ext uri="{FF2B5EF4-FFF2-40B4-BE49-F238E27FC236}">
                  <a16:creationId xmlns:a16="http://schemas.microsoft.com/office/drawing/2014/main" id="{D945BFF7-0B71-84DF-CE32-07EF952E137A}"/>
                </a:ext>
              </a:extLst>
            </p:cNvPr>
            <p:cNvCxnSpPr>
              <a:cxnSpLocks/>
              <a:stCxn id="40" idx="1"/>
              <a:endCxn id="48" idx="0"/>
            </p:cNvCxnSpPr>
            <p:nvPr/>
          </p:nvCxnSpPr>
          <p:spPr>
            <a:xfrm>
              <a:off x="2281563" y="2301401"/>
              <a:ext cx="897520" cy="996651"/>
            </a:xfrm>
            <a:prstGeom prst="straightConnector1">
              <a:avLst/>
            </a:prstGeom>
            <a:ln>
              <a:headEnd type="arrow" w="med" len="med"/>
              <a:tailEnd type="arrow" w="med" len="med"/>
            </a:ln>
          </p:spPr>
          <p:style>
            <a:lnRef idx="2">
              <a:schemeClr val="accent6"/>
            </a:lnRef>
            <a:fillRef idx="0">
              <a:schemeClr val="accent6"/>
            </a:fillRef>
            <a:effectRef idx="1">
              <a:schemeClr val="accent6"/>
            </a:effectRef>
            <a:fontRef idx="minor">
              <a:schemeClr val="tx1"/>
            </a:fontRef>
          </p:style>
        </p:cxnSp>
      </p:grpSp>
    </p:spTree>
    <p:extLst>
      <p:ext uri="{BB962C8B-B14F-4D97-AF65-F5344CB8AC3E}">
        <p14:creationId xmlns:p14="http://schemas.microsoft.com/office/powerpoint/2010/main" val="7010527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2" name="Rectangle: Rounded Corners 151">
            <a:extLst>
              <a:ext uri="{FF2B5EF4-FFF2-40B4-BE49-F238E27FC236}">
                <a16:creationId xmlns:a16="http://schemas.microsoft.com/office/drawing/2014/main" id="{C508FF0A-A99D-D093-B963-ACAAC8DA4EAB}"/>
              </a:ext>
            </a:extLst>
          </p:cNvPr>
          <p:cNvSpPr/>
          <p:nvPr/>
        </p:nvSpPr>
        <p:spPr>
          <a:xfrm>
            <a:off x="193493" y="2236292"/>
            <a:ext cx="11274421" cy="103781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400" dirty="0"/>
          </a:p>
        </p:txBody>
      </p:sp>
      <p:sp>
        <p:nvSpPr>
          <p:cNvPr id="148" name="Rectangle: Rounded Corners 147">
            <a:extLst>
              <a:ext uri="{FF2B5EF4-FFF2-40B4-BE49-F238E27FC236}">
                <a16:creationId xmlns:a16="http://schemas.microsoft.com/office/drawing/2014/main" id="{82A7BEF2-CB9A-CF8D-B176-A0C6F78E2D2A}"/>
              </a:ext>
            </a:extLst>
          </p:cNvPr>
          <p:cNvSpPr/>
          <p:nvPr/>
        </p:nvSpPr>
        <p:spPr>
          <a:xfrm>
            <a:off x="193493" y="3335007"/>
            <a:ext cx="11274421" cy="35634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4" name="Rectangle: Rounded Corners 143">
            <a:extLst>
              <a:ext uri="{FF2B5EF4-FFF2-40B4-BE49-F238E27FC236}">
                <a16:creationId xmlns:a16="http://schemas.microsoft.com/office/drawing/2014/main" id="{D7077891-39B5-8301-5573-982FAD9DFDD0}"/>
              </a:ext>
            </a:extLst>
          </p:cNvPr>
          <p:cNvSpPr/>
          <p:nvPr/>
        </p:nvSpPr>
        <p:spPr>
          <a:xfrm>
            <a:off x="193493" y="3727849"/>
            <a:ext cx="11274421" cy="34877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3" name="Rectangle: Rounded Corners 142">
            <a:extLst>
              <a:ext uri="{FF2B5EF4-FFF2-40B4-BE49-F238E27FC236}">
                <a16:creationId xmlns:a16="http://schemas.microsoft.com/office/drawing/2014/main" id="{72EFFCA1-6095-8201-6328-D5A6AC4D06D0}"/>
              </a:ext>
            </a:extLst>
          </p:cNvPr>
          <p:cNvSpPr/>
          <p:nvPr/>
        </p:nvSpPr>
        <p:spPr>
          <a:xfrm>
            <a:off x="195529" y="5098162"/>
            <a:ext cx="11274421" cy="94051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2" name="Rectangle: Rounded Corners 141">
            <a:extLst>
              <a:ext uri="{FF2B5EF4-FFF2-40B4-BE49-F238E27FC236}">
                <a16:creationId xmlns:a16="http://schemas.microsoft.com/office/drawing/2014/main" id="{0C768652-8B9D-5934-B7E2-EA33380890E9}"/>
              </a:ext>
            </a:extLst>
          </p:cNvPr>
          <p:cNvSpPr/>
          <p:nvPr/>
        </p:nvSpPr>
        <p:spPr>
          <a:xfrm>
            <a:off x="195530" y="4135221"/>
            <a:ext cx="11274421" cy="83304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5" name="Rectangle: Rounded Corners 134">
            <a:extLst>
              <a:ext uri="{FF2B5EF4-FFF2-40B4-BE49-F238E27FC236}">
                <a16:creationId xmlns:a16="http://schemas.microsoft.com/office/drawing/2014/main" id="{935C5C25-2A6E-D9AC-2A17-3758D1D60BAE}"/>
              </a:ext>
            </a:extLst>
          </p:cNvPr>
          <p:cNvSpPr/>
          <p:nvPr/>
        </p:nvSpPr>
        <p:spPr>
          <a:xfrm>
            <a:off x="6659562" y="2056684"/>
            <a:ext cx="2231241" cy="4231166"/>
          </a:xfrm>
          <a:prstGeom prst="round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3" name="Rectangle: Rounded Corners 132">
            <a:extLst>
              <a:ext uri="{FF2B5EF4-FFF2-40B4-BE49-F238E27FC236}">
                <a16:creationId xmlns:a16="http://schemas.microsoft.com/office/drawing/2014/main" id="{7B5DF05A-0FDA-1A16-4E59-4728002C004A}"/>
              </a:ext>
            </a:extLst>
          </p:cNvPr>
          <p:cNvSpPr/>
          <p:nvPr/>
        </p:nvSpPr>
        <p:spPr>
          <a:xfrm>
            <a:off x="3978105" y="2056684"/>
            <a:ext cx="2357605" cy="4231166"/>
          </a:xfrm>
          <a:prstGeom prst="round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1" name="Rectangle: Rounded Corners 130">
            <a:extLst>
              <a:ext uri="{FF2B5EF4-FFF2-40B4-BE49-F238E27FC236}">
                <a16:creationId xmlns:a16="http://schemas.microsoft.com/office/drawing/2014/main" id="{4C0E0324-969D-44EB-2CD1-DE0BB0D2196B}"/>
              </a:ext>
            </a:extLst>
          </p:cNvPr>
          <p:cNvSpPr/>
          <p:nvPr/>
        </p:nvSpPr>
        <p:spPr>
          <a:xfrm>
            <a:off x="193494" y="2086252"/>
            <a:ext cx="3478906" cy="4231166"/>
          </a:xfrm>
          <a:prstGeom prst="round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4">
            <a:extLst>
              <a:ext uri="{FF2B5EF4-FFF2-40B4-BE49-F238E27FC236}">
                <a16:creationId xmlns:a16="http://schemas.microsoft.com/office/drawing/2014/main" id="{894CB5AC-A638-B231-9125-0447903336E9}"/>
              </a:ext>
            </a:extLst>
          </p:cNvPr>
          <p:cNvSpPr>
            <a:spLocks noGrp="1"/>
          </p:cNvSpPr>
          <p:nvPr>
            <p:ph type="ftr" sz="quarter" idx="3"/>
          </p:nvPr>
        </p:nvSpPr>
        <p:spPr/>
        <p:txBody>
          <a:bodyPr/>
          <a:lstStyle/>
          <a:p>
            <a:r>
              <a:rPr lang="en-US" dirty="0"/>
              <a:t>Case Study</a:t>
            </a:r>
          </a:p>
        </p:txBody>
      </p:sp>
      <p:sp>
        <p:nvSpPr>
          <p:cNvPr id="6" name="Text Placeholder 5">
            <a:extLst>
              <a:ext uri="{FF2B5EF4-FFF2-40B4-BE49-F238E27FC236}">
                <a16:creationId xmlns:a16="http://schemas.microsoft.com/office/drawing/2014/main" id="{DF904897-119D-6D7D-89C4-C3A57B7D9A07}"/>
              </a:ext>
            </a:extLst>
          </p:cNvPr>
          <p:cNvSpPr>
            <a:spLocks noGrp="1"/>
          </p:cNvSpPr>
          <p:nvPr>
            <p:ph type="body" sz="quarter" idx="10"/>
          </p:nvPr>
        </p:nvSpPr>
        <p:spPr>
          <a:xfrm>
            <a:off x="304746" y="540582"/>
            <a:ext cx="11581530" cy="362705"/>
          </a:xfrm>
        </p:spPr>
        <p:txBody>
          <a:bodyPr/>
          <a:lstStyle/>
          <a:p>
            <a:r>
              <a:rPr lang="en-US" dirty="0"/>
              <a:t>ORAN Deployment Model</a:t>
            </a:r>
          </a:p>
        </p:txBody>
      </p:sp>
      <p:sp>
        <p:nvSpPr>
          <p:cNvPr id="45" name="TextBox 44">
            <a:extLst>
              <a:ext uri="{FF2B5EF4-FFF2-40B4-BE49-F238E27FC236}">
                <a16:creationId xmlns:a16="http://schemas.microsoft.com/office/drawing/2014/main" id="{99E22F3B-CE44-0BC7-58E2-572AC4F8DED7}"/>
              </a:ext>
            </a:extLst>
          </p:cNvPr>
          <p:cNvSpPr txBox="1"/>
          <p:nvPr/>
        </p:nvSpPr>
        <p:spPr>
          <a:xfrm>
            <a:off x="705761" y="1384213"/>
            <a:ext cx="3077204" cy="461665"/>
          </a:xfrm>
          <a:prstGeom prst="rect">
            <a:avLst/>
          </a:prstGeom>
          <a:noFill/>
        </p:spPr>
        <p:txBody>
          <a:bodyPr wrap="square" rtlCol="0">
            <a:spAutoFit/>
          </a:bodyPr>
          <a:lstStyle/>
          <a:p>
            <a:r>
              <a:rPr lang="en-US" sz="1200" dirty="0"/>
              <a:t>Vendor V1 supplying virtualized SW &amp; Vendor A is supplying RAN HW</a:t>
            </a:r>
          </a:p>
        </p:txBody>
      </p:sp>
      <p:sp>
        <p:nvSpPr>
          <p:cNvPr id="47" name="TextBox 46">
            <a:extLst>
              <a:ext uri="{FF2B5EF4-FFF2-40B4-BE49-F238E27FC236}">
                <a16:creationId xmlns:a16="http://schemas.microsoft.com/office/drawing/2014/main" id="{85767D23-021B-3965-96E7-1F8EEC201622}"/>
              </a:ext>
            </a:extLst>
          </p:cNvPr>
          <p:cNvSpPr txBox="1"/>
          <p:nvPr/>
        </p:nvSpPr>
        <p:spPr>
          <a:xfrm>
            <a:off x="3720715" y="1318020"/>
            <a:ext cx="2801635" cy="646331"/>
          </a:xfrm>
          <a:prstGeom prst="rect">
            <a:avLst/>
          </a:prstGeom>
          <a:noFill/>
        </p:spPr>
        <p:txBody>
          <a:bodyPr wrap="square" rtlCol="0">
            <a:spAutoFit/>
          </a:bodyPr>
          <a:lstStyle/>
          <a:p>
            <a:r>
              <a:rPr lang="en-US" sz="1200" dirty="0"/>
              <a:t>New vendor B </a:t>
            </a:r>
            <a:r>
              <a:rPr lang="en-US" sz="1200" dirty="0" err="1"/>
              <a:t>OpenRAN</a:t>
            </a:r>
            <a:r>
              <a:rPr lang="en-US" sz="1200" dirty="0"/>
              <a:t> HW can work out of the box with Vendor V1 SW</a:t>
            </a:r>
          </a:p>
        </p:txBody>
      </p:sp>
      <p:grpSp>
        <p:nvGrpSpPr>
          <p:cNvPr id="82" name="Group 81">
            <a:extLst>
              <a:ext uri="{FF2B5EF4-FFF2-40B4-BE49-F238E27FC236}">
                <a16:creationId xmlns:a16="http://schemas.microsoft.com/office/drawing/2014/main" id="{F344AF53-6CEE-E821-1993-7FE0EE59BEA8}"/>
              </a:ext>
            </a:extLst>
          </p:cNvPr>
          <p:cNvGrpSpPr/>
          <p:nvPr/>
        </p:nvGrpSpPr>
        <p:grpSpPr>
          <a:xfrm>
            <a:off x="1394304" y="2350758"/>
            <a:ext cx="2041917" cy="3672723"/>
            <a:chOff x="5286449" y="1891302"/>
            <a:chExt cx="2771709" cy="3756710"/>
          </a:xfrm>
        </p:grpSpPr>
        <p:sp>
          <p:nvSpPr>
            <p:cNvPr id="49" name="Rectangle 48">
              <a:extLst>
                <a:ext uri="{FF2B5EF4-FFF2-40B4-BE49-F238E27FC236}">
                  <a16:creationId xmlns:a16="http://schemas.microsoft.com/office/drawing/2014/main" id="{4BE60D5F-3C36-F9D2-C938-1364086FCF7F}"/>
                </a:ext>
              </a:extLst>
            </p:cNvPr>
            <p:cNvSpPr/>
            <p:nvPr/>
          </p:nvSpPr>
          <p:spPr>
            <a:xfrm>
              <a:off x="5286449" y="3710046"/>
              <a:ext cx="2771709" cy="956567"/>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Rectangle 50">
              <a:extLst>
                <a:ext uri="{FF2B5EF4-FFF2-40B4-BE49-F238E27FC236}">
                  <a16:creationId xmlns:a16="http://schemas.microsoft.com/office/drawing/2014/main" id="{E6593F04-3192-F94B-DA58-7EEA3A43D0FA}"/>
                </a:ext>
              </a:extLst>
            </p:cNvPr>
            <p:cNvSpPr/>
            <p:nvPr/>
          </p:nvSpPr>
          <p:spPr>
            <a:xfrm>
              <a:off x="5984896" y="4691441"/>
              <a:ext cx="319596" cy="956569"/>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a:t>Vendor A</a:t>
              </a:r>
            </a:p>
          </p:txBody>
        </p:sp>
        <p:sp>
          <p:nvSpPr>
            <p:cNvPr id="53" name="Rectangle 52">
              <a:extLst>
                <a:ext uri="{FF2B5EF4-FFF2-40B4-BE49-F238E27FC236}">
                  <a16:creationId xmlns:a16="http://schemas.microsoft.com/office/drawing/2014/main" id="{99C924DA-25FE-778A-C57F-DAC1FCA34CA4}"/>
                </a:ext>
              </a:extLst>
            </p:cNvPr>
            <p:cNvSpPr/>
            <p:nvPr/>
          </p:nvSpPr>
          <p:spPr>
            <a:xfrm>
              <a:off x="6554912" y="4691442"/>
              <a:ext cx="319596" cy="956569"/>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a:t>Vendor A</a:t>
              </a:r>
            </a:p>
          </p:txBody>
        </p:sp>
        <p:sp>
          <p:nvSpPr>
            <p:cNvPr id="55" name="Rectangle 54">
              <a:extLst>
                <a:ext uri="{FF2B5EF4-FFF2-40B4-BE49-F238E27FC236}">
                  <a16:creationId xmlns:a16="http://schemas.microsoft.com/office/drawing/2014/main" id="{730C1C2F-0E7A-B4F9-EC4B-9021E6DEBE0F}"/>
                </a:ext>
              </a:extLst>
            </p:cNvPr>
            <p:cNvSpPr/>
            <p:nvPr/>
          </p:nvSpPr>
          <p:spPr>
            <a:xfrm>
              <a:off x="7136833" y="4691443"/>
              <a:ext cx="319596" cy="956569"/>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a:t>Vendor A</a:t>
              </a:r>
            </a:p>
          </p:txBody>
        </p:sp>
        <p:sp>
          <p:nvSpPr>
            <p:cNvPr id="57" name="Rectangle 56">
              <a:extLst>
                <a:ext uri="{FF2B5EF4-FFF2-40B4-BE49-F238E27FC236}">
                  <a16:creationId xmlns:a16="http://schemas.microsoft.com/office/drawing/2014/main" id="{1F86071B-5659-BAAF-3A01-9AD4E8F93B3D}"/>
                </a:ext>
              </a:extLst>
            </p:cNvPr>
            <p:cNvSpPr/>
            <p:nvPr/>
          </p:nvSpPr>
          <p:spPr>
            <a:xfrm>
              <a:off x="7718754" y="4691441"/>
              <a:ext cx="319596" cy="956569"/>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a:t>Vendor A</a:t>
              </a:r>
            </a:p>
          </p:txBody>
        </p:sp>
        <p:sp>
          <p:nvSpPr>
            <p:cNvPr id="59" name="Rectangle 58">
              <a:extLst>
                <a:ext uri="{FF2B5EF4-FFF2-40B4-BE49-F238E27FC236}">
                  <a16:creationId xmlns:a16="http://schemas.microsoft.com/office/drawing/2014/main" id="{A4B532CE-ED9A-39B1-4B2C-7BA2D8A522F8}"/>
                </a:ext>
              </a:extLst>
            </p:cNvPr>
            <p:cNvSpPr/>
            <p:nvPr/>
          </p:nvSpPr>
          <p:spPr>
            <a:xfrm>
              <a:off x="5417411" y="4691444"/>
              <a:ext cx="319596" cy="956566"/>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a:t>Vendor A</a:t>
              </a:r>
            </a:p>
          </p:txBody>
        </p:sp>
        <p:sp>
          <p:nvSpPr>
            <p:cNvPr id="61" name="Rectangle 60">
              <a:extLst>
                <a:ext uri="{FF2B5EF4-FFF2-40B4-BE49-F238E27FC236}">
                  <a16:creationId xmlns:a16="http://schemas.microsoft.com/office/drawing/2014/main" id="{1BECB642-33C1-282B-DF06-43E71BE18CBB}"/>
                </a:ext>
              </a:extLst>
            </p:cNvPr>
            <p:cNvSpPr/>
            <p:nvPr/>
          </p:nvSpPr>
          <p:spPr>
            <a:xfrm>
              <a:off x="5373742" y="3805192"/>
              <a:ext cx="2620940" cy="372862"/>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V1</a:t>
              </a:r>
              <a:endParaRPr lang="en-US" dirty="0"/>
            </a:p>
          </p:txBody>
        </p:sp>
        <p:sp>
          <p:nvSpPr>
            <p:cNvPr id="63" name="Rectangle 62">
              <a:extLst>
                <a:ext uri="{FF2B5EF4-FFF2-40B4-BE49-F238E27FC236}">
                  <a16:creationId xmlns:a16="http://schemas.microsoft.com/office/drawing/2014/main" id="{686CCBBF-E00C-4974-EEA3-6653CDFAE28D}"/>
                </a:ext>
              </a:extLst>
            </p:cNvPr>
            <p:cNvSpPr/>
            <p:nvPr/>
          </p:nvSpPr>
          <p:spPr>
            <a:xfrm>
              <a:off x="5386914" y="3309553"/>
              <a:ext cx="2620940" cy="372862"/>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Transport Network</a:t>
              </a:r>
            </a:p>
          </p:txBody>
        </p:sp>
        <p:sp>
          <p:nvSpPr>
            <p:cNvPr id="65" name="Rectangle 64">
              <a:extLst>
                <a:ext uri="{FF2B5EF4-FFF2-40B4-BE49-F238E27FC236}">
                  <a16:creationId xmlns:a16="http://schemas.microsoft.com/office/drawing/2014/main" id="{A96B0FCF-2E80-25C3-C0A7-7CEF9C4C9D54}"/>
                </a:ext>
              </a:extLst>
            </p:cNvPr>
            <p:cNvSpPr/>
            <p:nvPr/>
          </p:nvSpPr>
          <p:spPr>
            <a:xfrm>
              <a:off x="5956100" y="1892686"/>
              <a:ext cx="319596" cy="926444"/>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a:t>service</a:t>
              </a:r>
              <a:endParaRPr lang="en-US" dirty="0"/>
            </a:p>
          </p:txBody>
        </p:sp>
        <p:sp>
          <p:nvSpPr>
            <p:cNvPr id="67" name="Rectangle 66">
              <a:extLst>
                <a:ext uri="{FF2B5EF4-FFF2-40B4-BE49-F238E27FC236}">
                  <a16:creationId xmlns:a16="http://schemas.microsoft.com/office/drawing/2014/main" id="{7A4EC696-20F1-FBD3-5837-B0BFAF075F6E}"/>
                </a:ext>
              </a:extLst>
            </p:cNvPr>
            <p:cNvSpPr/>
            <p:nvPr/>
          </p:nvSpPr>
          <p:spPr>
            <a:xfrm>
              <a:off x="6518339" y="1897982"/>
              <a:ext cx="319596" cy="926444"/>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a:t>service</a:t>
              </a:r>
              <a:endParaRPr lang="en-US" dirty="0"/>
            </a:p>
          </p:txBody>
        </p:sp>
        <p:sp>
          <p:nvSpPr>
            <p:cNvPr id="69" name="Rectangle 68">
              <a:extLst>
                <a:ext uri="{FF2B5EF4-FFF2-40B4-BE49-F238E27FC236}">
                  <a16:creationId xmlns:a16="http://schemas.microsoft.com/office/drawing/2014/main" id="{42B4ADDF-3DD6-B8C1-8A2E-589F92FDBF65}"/>
                </a:ext>
              </a:extLst>
            </p:cNvPr>
            <p:cNvSpPr/>
            <p:nvPr/>
          </p:nvSpPr>
          <p:spPr>
            <a:xfrm>
              <a:off x="7126601" y="1893671"/>
              <a:ext cx="319596" cy="926444"/>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a:t>service</a:t>
              </a:r>
              <a:endParaRPr lang="en-US" dirty="0"/>
            </a:p>
          </p:txBody>
        </p:sp>
        <p:sp>
          <p:nvSpPr>
            <p:cNvPr id="71" name="Rectangle 70">
              <a:extLst>
                <a:ext uri="{FF2B5EF4-FFF2-40B4-BE49-F238E27FC236}">
                  <a16:creationId xmlns:a16="http://schemas.microsoft.com/office/drawing/2014/main" id="{26EBB1F3-C2AD-2F24-C7C1-C64CC4A92305}"/>
                </a:ext>
              </a:extLst>
            </p:cNvPr>
            <p:cNvSpPr/>
            <p:nvPr/>
          </p:nvSpPr>
          <p:spPr>
            <a:xfrm>
              <a:off x="7682181" y="1893671"/>
              <a:ext cx="319596" cy="926444"/>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a:t>service</a:t>
              </a:r>
              <a:endParaRPr lang="en-US" dirty="0"/>
            </a:p>
          </p:txBody>
        </p:sp>
        <p:sp>
          <p:nvSpPr>
            <p:cNvPr id="73" name="Rectangle 72">
              <a:extLst>
                <a:ext uri="{FF2B5EF4-FFF2-40B4-BE49-F238E27FC236}">
                  <a16:creationId xmlns:a16="http://schemas.microsoft.com/office/drawing/2014/main" id="{7FBD2A82-4EB5-DE3A-52A7-F7F2FB43BE90}"/>
                </a:ext>
              </a:extLst>
            </p:cNvPr>
            <p:cNvSpPr/>
            <p:nvPr/>
          </p:nvSpPr>
          <p:spPr>
            <a:xfrm>
              <a:off x="5411335" y="1891302"/>
              <a:ext cx="319596" cy="926444"/>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a:t>service</a:t>
              </a:r>
              <a:endParaRPr lang="en-US" sz="1600" dirty="0"/>
            </a:p>
          </p:txBody>
        </p:sp>
        <p:sp>
          <p:nvSpPr>
            <p:cNvPr id="75" name="Rectangle 74">
              <a:extLst>
                <a:ext uri="{FF2B5EF4-FFF2-40B4-BE49-F238E27FC236}">
                  <a16:creationId xmlns:a16="http://schemas.microsoft.com/office/drawing/2014/main" id="{A4DF385D-2C29-3F53-2555-E4537A8C07BC}"/>
                </a:ext>
              </a:extLst>
            </p:cNvPr>
            <p:cNvSpPr/>
            <p:nvPr/>
          </p:nvSpPr>
          <p:spPr>
            <a:xfrm>
              <a:off x="5386914" y="2902570"/>
              <a:ext cx="2620940" cy="372862"/>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Core Network</a:t>
              </a:r>
              <a:endParaRPr lang="en-US" sz="1600" dirty="0"/>
            </a:p>
          </p:txBody>
        </p:sp>
        <p:sp>
          <p:nvSpPr>
            <p:cNvPr id="77" name="Rectangle 76">
              <a:extLst>
                <a:ext uri="{FF2B5EF4-FFF2-40B4-BE49-F238E27FC236}">
                  <a16:creationId xmlns:a16="http://schemas.microsoft.com/office/drawing/2014/main" id="{00110978-0D3A-ED4F-9F7C-58B34DCD4B17}"/>
                </a:ext>
              </a:extLst>
            </p:cNvPr>
            <p:cNvSpPr/>
            <p:nvPr/>
          </p:nvSpPr>
          <p:spPr>
            <a:xfrm>
              <a:off x="5386914" y="4195805"/>
              <a:ext cx="2620940" cy="37286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COTS Servers</a:t>
              </a:r>
            </a:p>
          </p:txBody>
        </p:sp>
      </p:grpSp>
      <p:sp>
        <p:nvSpPr>
          <p:cNvPr id="79" name="TextBox 78">
            <a:extLst>
              <a:ext uri="{FF2B5EF4-FFF2-40B4-BE49-F238E27FC236}">
                <a16:creationId xmlns:a16="http://schemas.microsoft.com/office/drawing/2014/main" id="{3448553C-2A6A-9B6E-6F2F-3A67BCB95CEE}"/>
              </a:ext>
            </a:extLst>
          </p:cNvPr>
          <p:cNvSpPr txBox="1"/>
          <p:nvPr/>
        </p:nvSpPr>
        <p:spPr>
          <a:xfrm>
            <a:off x="268190" y="5168893"/>
            <a:ext cx="1018704" cy="646331"/>
          </a:xfrm>
          <a:prstGeom prst="rect">
            <a:avLst/>
          </a:prstGeom>
          <a:solidFill>
            <a:srgbClr val="C00000"/>
          </a:solidFill>
        </p:spPr>
        <p:txBody>
          <a:bodyPr vert="horz" wrap="square" rtlCol="0">
            <a:spAutoFit/>
          </a:bodyPr>
          <a:lstStyle/>
          <a:p>
            <a:pPr algn="ctr"/>
            <a:r>
              <a:rPr lang="en-US" sz="1200" b="1" dirty="0" err="1">
                <a:solidFill>
                  <a:srgbClr val="EDEDED"/>
                </a:solidFill>
              </a:rPr>
              <a:t>OpenRAN</a:t>
            </a:r>
            <a:r>
              <a:rPr lang="en-US" sz="1200" b="1" dirty="0">
                <a:solidFill>
                  <a:srgbClr val="EDEDED"/>
                </a:solidFill>
              </a:rPr>
              <a:t> HW from any Vendor</a:t>
            </a:r>
          </a:p>
        </p:txBody>
      </p:sp>
      <p:sp>
        <p:nvSpPr>
          <p:cNvPr id="81" name="TextBox 80">
            <a:extLst>
              <a:ext uri="{FF2B5EF4-FFF2-40B4-BE49-F238E27FC236}">
                <a16:creationId xmlns:a16="http://schemas.microsoft.com/office/drawing/2014/main" id="{060D5A61-9102-E865-B745-B34F29A6BF3B}"/>
              </a:ext>
            </a:extLst>
          </p:cNvPr>
          <p:cNvSpPr txBox="1"/>
          <p:nvPr/>
        </p:nvSpPr>
        <p:spPr>
          <a:xfrm>
            <a:off x="234000" y="4223154"/>
            <a:ext cx="1046313" cy="523220"/>
          </a:xfrm>
          <a:prstGeom prst="rect">
            <a:avLst/>
          </a:prstGeom>
          <a:solidFill>
            <a:srgbClr val="92D050"/>
          </a:solidFill>
        </p:spPr>
        <p:txBody>
          <a:bodyPr vert="horz" wrap="square" rtlCol="0">
            <a:spAutoFit/>
          </a:bodyPr>
          <a:lstStyle/>
          <a:p>
            <a:pPr algn="ctr"/>
            <a:r>
              <a:rPr lang="en-US" sz="1400" b="1" dirty="0" err="1">
                <a:solidFill>
                  <a:schemeClr val="accent6">
                    <a:lumMod val="50000"/>
                  </a:schemeClr>
                </a:solidFill>
              </a:rPr>
              <a:t>OpenRAN</a:t>
            </a:r>
            <a:r>
              <a:rPr lang="en-US" sz="1400" b="1" dirty="0">
                <a:solidFill>
                  <a:schemeClr val="accent6">
                    <a:lumMod val="50000"/>
                  </a:schemeClr>
                </a:solidFill>
              </a:rPr>
              <a:t> Software</a:t>
            </a:r>
          </a:p>
        </p:txBody>
      </p:sp>
      <p:grpSp>
        <p:nvGrpSpPr>
          <p:cNvPr id="83" name="Group 82">
            <a:extLst>
              <a:ext uri="{FF2B5EF4-FFF2-40B4-BE49-F238E27FC236}">
                <a16:creationId xmlns:a16="http://schemas.microsoft.com/office/drawing/2014/main" id="{248A72FA-519F-AE32-72CC-6C1E0829EA2F}"/>
              </a:ext>
            </a:extLst>
          </p:cNvPr>
          <p:cNvGrpSpPr/>
          <p:nvPr/>
        </p:nvGrpSpPr>
        <p:grpSpPr>
          <a:xfrm>
            <a:off x="4031737" y="2355645"/>
            <a:ext cx="2006207" cy="3672723"/>
            <a:chOff x="5334999" y="1891302"/>
            <a:chExt cx="2703352" cy="3756710"/>
          </a:xfrm>
        </p:grpSpPr>
        <p:sp>
          <p:nvSpPr>
            <p:cNvPr id="84" name="Rectangle 83">
              <a:extLst>
                <a:ext uri="{FF2B5EF4-FFF2-40B4-BE49-F238E27FC236}">
                  <a16:creationId xmlns:a16="http://schemas.microsoft.com/office/drawing/2014/main" id="{B83EA397-6A80-AB14-98B3-40C61E361ACE}"/>
                </a:ext>
              </a:extLst>
            </p:cNvPr>
            <p:cNvSpPr/>
            <p:nvPr/>
          </p:nvSpPr>
          <p:spPr>
            <a:xfrm>
              <a:off x="5334999" y="3710046"/>
              <a:ext cx="2703352" cy="956566"/>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5" name="Rectangle 84">
              <a:extLst>
                <a:ext uri="{FF2B5EF4-FFF2-40B4-BE49-F238E27FC236}">
                  <a16:creationId xmlns:a16="http://schemas.microsoft.com/office/drawing/2014/main" id="{6983658A-B632-0386-ED27-1DBAE33BFA32}"/>
                </a:ext>
              </a:extLst>
            </p:cNvPr>
            <p:cNvSpPr/>
            <p:nvPr/>
          </p:nvSpPr>
          <p:spPr>
            <a:xfrm>
              <a:off x="5984896" y="4691441"/>
              <a:ext cx="319596" cy="956569"/>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a:t>Vendor A</a:t>
              </a:r>
            </a:p>
          </p:txBody>
        </p:sp>
        <p:sp>
          <p:nvSpPr>
            <p:cNvPr id="86" name="Rectangle 85">
              <a:extLst>
                <a:ext uri="{FF2B5EF4-FFF2-40B4-BE49-F238E27FC236}">
                  <a16:creationId xmlns:a16="http://schemas.microsoft.com/office/drawing/2014/main" id="{BE33407E-7083-D13A-4A5C-065E39963B9B}"/>
                </a:ext>
              </a:extLst>
            </p:cNvPr>
            <p:cNvSpPr/>
            <p:nvPr/>
          </p:nvSpPr>
          <p:spPr>
            <a:xfrm>
              <a:off x="6554912" y="4691442"/>
              <a:ext cx="319596" cy="956569"/>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a:solidFill>
                    <a:srgbClr val="002060"/>
                  </a:solidFill>
                </a:rPr>
                <a:t>Vendor B</a:t>
              </a:r>
            </a:p>
          </p:txBody>
        </p:sp>
        <p:sp>
          <p:nvSpPr>
            <p:cNvPr id="87" name="Rectangle 86">
              <a:extLst>
                <a:ext uri="{FF2B5EF4-FFF2-40B4-BE49-F238E27FC236}">
                  <a16:creationId xmlns:a16="http://schemas.microsoft.com/office/drawing/2014/main" id="{0B0F65F2-4442-4FDF-F466-52002108113C}"/>
                </a:ext>
              </a:extLst>
            </p:cNvPr>
            <p:cNvSpPr/>
            <p:nvPr/>
          </p:nvSpPr>
          <p:spPr>
            <a:xfrm>
              <a:off x="7136833" y="4691443"/>
              <a:ext cx="319596" cy="956569"/>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a:solidFill>
                    <a:srgbClr val="002060"/>
                  </a:solidFill>
                </a:rPr>
                <a:t>Vendor B</a:t>
              </a:r>
            </a:p>
          </p:txBody>
        </p:sp>
        <p:sp>
          <p:nvSpPr>
            <p:cNvPr id="88" name="Rectangle 87">
              <a:extLst>
                <a:ext uri="{FF2B5EF4-FFF2-40B4-BE49-F238E27FC236}">
                  <a16:creationId xmlns:a16="http://schemas.microsoft.com/office/drawing/2014/main" id="{352506E5-6944-56BB-8B3F-F63850663B47}"/>
                </a:ext>
              </a:extLst>
            </p:cNvPr>
            <p:cNvSpPr/>
            <p:nvPr/>
          </p:nvSpPr>
          <p:spPr>
            <a:xfrm>
              <a:off x="7718754" y="4691441"/>
              <a:ext cx="319596" cy="956569"/>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a:t>Vendor A</a:t>
              </a:r>
            </a:p>
          </p:txBody>
        </p:sp>
        <p:sp>
          <p:nvSpPr>
            <p:cNvPr id="89" name="Rectangle 88">
              <a:extLst>
                <a:ext uri="{FF2B5EF4-FFF2-40B4-BE49-F238E27FC236}">
                  <a16:creationId xmlns:a16="http://schemas.microsoft.com/office/drawing/2014/main" id="{9A2C2997-AA84-674B-42C3-E3F961C2301B}"/>
                </a:ext>
              </a:extLst>
            </p:cNvPr>
            <p:cNvSpPr/>
            <p:nvPr/>
          </p:nvSpPr>
          <p:spPr>
            <a:xfrm>
              <a:off x="5417411" y="4691444"/>
              <a:ext cx="319596" cy="956566"/>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a:t>Vendor A</a:t>
              </a:r>
            </a:p>
          </p:txBody>
        </p:sp>
        <p:sp>
          <p:nvSpPr>
            <p:cNvPr id="90" name="Rectangle 89">
              <a:extLst>
                <a:ext uri="{FF2B5EF4-FFF2-40B4-BE49-F238E27FC236}">
                  <a16:creationId xmlns:a16="http://schemas.microsoft.com/office/drawing/2014/main" id="{4F52737E-AC2F-B08C-A9E9-576495992F5F}"/>
                </a:ext>
              </a:extLst>
            </p:cNvPr>
            <p:cNvSpPr/>
            <p:nvPr/>
          </p:nvSpPr>
          <p:spPr>
            <a:xfrm>
              <a:off x="5373742" y="3805192"/>
              <a:ext cx="2620940" cy="372862"/>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V1</a:t>
              </a:r>
              <a:endParaRPr lang="en-US" dirty="0"/>
            </a:p>
          </p:txBody>
        </p:sp>
        <p:sp>
          <p:nvSpPr>
            <p:cNvPr id="91" name="Rectangle 90">
              <a:extLst>
                <a:ext uri="{FF2B5EF4-FFF2-40B4-BE49-F238E27FC236}">
                  <a16:creationId xmlns:a16="http://schemas.microsoft.com/office/drawing/2014/main" id="{17A9FABE-91AA-14F3-38AF-0A70C9FFB2C5}"/>
                </a:ext>
              </a:extLst>
            </p:cNvPr>
            <p:cNvSpPr/>
            <p:nvPr/>
          </p:nvSpPr>
          <p:spPr>
            <a:xfrm>
              <a:off x="5386914" y="3309553"/>
              <a:ext cx="2620940" cy="372862"/>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Transport Network</a:t>
              </a:r>
            </a:p>
          </p:txBody>
        </p:sp>
        <p:sp>
          <p:nvSpPr>
            <p:cNvPr id="92" name="Rectangle 91">
              <a:extLst>
                <a:ext uri="{FF2B5EF4-FFF2-40B4-BE49-F238E27FC236}">
                  <a16:creationId xmlns:a16="http://schemas.microsoft.com/office/drawing/2014/main" id="{251CAF65-4AF8-1517-5ADA-CC8B2F47E972}"/>
                </a:ext>
              </a:extLst>
            </p:cNvPr>
            <p:cNvSpPr/>
            <p:nvPr/>
          </p:nvSpPr>
          <p:spPr>
            <a:xfrm>
              <a:off x="5956100" y="1892686"/>
              <a:ext cx="319596" cy="926444"/>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a:t>service</a:t>
              </a:r>
              <a:endParaRPr lang="en-US" dirty="0"/>
            </a:p>
          </p:txBody>
        </p:sp>
        <p:sp>
          <p:nvSpPr>
            <p:cNvPr id="93" name="Rectangle 92">
              <a:extLst>
                <a:ext uri="{FF2B5EF4-FFF2-40B4-BE49-F238E27FC236}">
                  <a16:creationId xmlns:a16="http://schemas.microsoft.com/office/drawing/2014/main" id="{D0539C63-CF83-7FDF-CDA0-5346857B2A54}"/>
                </a:ext>
              </a:extLst>
            </p:cNvPr>
            <p:cNvSpPr/>
            <p:nvPr/>
          </p:nvSpPr>
          <p:spPr>
            <a:xfrm>
              <a:off x="6518339" y="1897982"/>
              <a:ext cx="319596" cy="926444"/>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a:t>service</a:t>
              </a:r>
              <a:endParaRPr lang="en-US" dirty="0"/>
            </a:p>
          </p:txBody>
        </p:sp>
        <p:sp>
          <p:nvSpPr>
            <p:cNvPr id="94" name="Rectangle 93">
              <a:extLst>
                <a:ext uri="{FF2B5EF4-FFF2-40B4-BE49-F238E27FC236}">
                  <a16:creationId xmlns:a16="http://schemas.microsoft.com/office/drawing/2014/main" id="{A56D99F2-874E-6F0C-321A-D44ED03D5C91}"/>
                </a:ext>
              </a:extLst>
            </p:cNvPr>
            <p:cNvSpPr/>
            <p:nvPr/>
          </p:nvSpPr>
          <p:spPr>
            <a:xfrm>
              <a:off x="7126601" y="1893671"/>
              <a:ext cx="319596" cy="926444"/>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a:t>service</a:t>
              </a:r>
              <a:endParaRPr lang="en-US" dirty="0"/>
            </a:p>
          </p:txBody>
        </p:sp>
        <p:sp>
          <p:nvSpPr>
            <p:cNvPr id="95" name="Rectangle 94">
              <a:extLst>
                <a:ext uri="{FF2B5EF4-FFF2-40B4-BE49-F238E27FC236}">
                  <a16:creationId xmlns:a16="http://schemas.microsoft.com/office/drawing/2014/main" id="{5EB93A15-C063-2A64-CFAF-95499E5C5099}"/>
                </a:ext>
              </a:extLst>
            </p:cNvPr>
            <p:cNvSpPr/>
            <p:nvPr/>
          </p:nvSpPr>
          <p:spPr>
            <a:xfrm>
              <a:off x="7682181" y="1893671"/>
              <a:ext cx="319596" cy="926444"/>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a:t>service</a:t>
              </a:r>
              <a:endParaRPr lang="en-US" dirty="0"/>
            </a:p>
          </p:txBody>
        </p:sp>
        <p:sp>
          <p:nvSpPr>
            <p:cNvPr id="96" name="Rectangle 95">
              <a:extLst>
                <a:ext uri="{FF2B5EF4-FFF2-40B4-BE49-F238E27FC236}">
                  <a16:creationId xmlns:a16="http://schemas.microsoft.com/office/drawing/2014/main" id="{3C115592-78FF-DD76-F944-25D5B50D8786}"/>
                </a:ext>
              </a:extLst>
            </p:cNvPr>
            <p:cNvSpPr/>
            <p:nvPr/>
          </p:nvSpPr>
          <p:spPr>
            <a:xfrm>
              <a:off x="5411335" y="1891302"/>
              <a:ext cx="319596" cy="926444"/>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a:t>service</a:t>
              </a:r>
              <a:endParaRPr lang="en-US" sz="1600" dirty="0"/>
            </a:p>
          </p:txBody>
        </p:sp>
        <p:sp>
          <p:nvSpPr>
            <p:cNvPr id="97" name="Rectangle 96">
              <a:extLst>
                <a:ext uri="{FF2B5EF4-FFF2-40B4-BE49-F238E27FC236}">
                  <a16:creationId xmlns:a16="http://schemas.microsoft.com/office/drawing/2014/main" id="{B95A9727-7B90-4457-C145-6BFB0589A8B9}"/>
                </a:ext>
              </a:extLst>
            </p:cNvPr>
            <p:cNvSpPr/>
            <p:nvPr/>
          </p:nvSpPr>
          <p:spPr>
            <a:xfrm>
              <a:off x="5386914" y="2902570"/>
              <a:ext cx="2620940" cy="372862"/>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Core Network</a:t>
              </a:r>
              <a:endParaRPr lang="en-US" sz="1600" dirty="0"/>
            </a:p>
          </p:txBody>
        </p:sp>
        <p:sp>
          <p:nvSpPr>
            <p:cNvPr id="98" name="Rectangle 97">
              <a:extLst>
                <a:ext uri="{FF2B5EF4-FFF2-40B4-BE49-F238E27FC236}">
                  <a16:creationId xmlns:a16="http://schemas.microsoft.com/office/drawing/2014/main" id="{12161B73-7F27-0440-A021-4D624A14A3E3}"/>
                </a:ext>
              </a:extLst>
            </p:cNvPr>
            <p:cNvSpPr/>
            <p:nvPr/>
          </p:nvSpPr>
          <p:spPr>
            <a:xfrm>
              <a:off x="5386914" y="4195805"/>
              <a:ext cx="2620940" cy="37286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COTS Servers</a:t>
              </a:r>
            </a:p>
          </p:txBody>
        </p:sp>
      </p:grpSp>
      <p:grpSp>
        <p:nvGrpSpPr>
          <p:cNvPr id="99" name="Group 98">
            <a:extLst>
              <a:ext uri="{FF2B5EF4-FFF2-40B4-BE49-F238E27FC236}">
                <a16:creationId xmlns:a16="http://schemas.microsoft.com/office/drawing/2014/main" id="{425044F7-EEBD-BA83-3618-BD465938770F}"/>
              </a:ext>
            </a:extLst>
          </p:cNvPr>
          <p:cNvGrpSpPr/>
          <p:nvPr/>
        </p:nvGrpSpPr>
        <p:grpSpPr>
          <a:xfrm>
            <a:off x="6737753" y="2315847"/>
            <a:ext cx="1965046" cy="3758011"/>
            <a:chOff x="5334999" y="1891302"/>
            <a:chExt cx="2703352" cy="3756710"/>
          </a:xfrm>
        </p:grpSpPr>
        <p:sp>
          <p:nvSpPr>
            <p:cNvPr id="100" name="Rectangle 99">
              <a:extLst>
                <a:ext uri="{FF2B5EF4-FFF2-40B4-BE49-F238E27FC236}">
                  <a16:creationId xmlns:a16="http://schemas.microsoft.com/office/drawing/2014/main" id="{0E2EAB20-535E-47B5-5FFA-6C666C3ED855}"/>
                </a:ext>
              </a:extLst>
            </p:cNvPr>
            <p:cNvSpPr/>
            <p:nvPr/>
          </p:nvSpPr>
          <p:spPr>
            <a:xfrm>
              <a:off x="5334999" y="3710046"/>
              <a:ext cx="2703352" cy="956566"/>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1" name="Rectangle 100">
              <a:extLst>
                <a:ext uri="{FF2B5EF4-FFF2-40B4-BE49-F238E27FC236}">
                  <a16:creationId xmlns:a16="http://schemas.microsoft.com/office/drawing/2014/main" id="{291EA7C0-C8D8-0F44-99A4-AD04D8C9BCCA}"/>
                </a:ext>
              </a:extLst>
            </p:cNvPr>
            <p:cNvSpPr/>
            <p:nvPr/>
          </p:nvSpPr>
          <p:spPr>
            <a:xfrm>
              <a:off x="5984896" y="4691441"/>
              <a:ext cx="319596" cy="956569"/>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a:t>Vendor A</a:t>
              </a:r>
            </a:p>
          </p:txBody>
        </p:sp>
        <p:sp>
          <p:nvSpPr>
            <p:cNvPr id="102" name="Rectangle 101">
              <a:extLst>
                <a:ext uri="{FF2B5EF4-FFF2-40B4-BE49-F238E27FC236}">
                  <a16:creationId xmlns:a16="http://schemas.microsoft.com/office/drawing/2014/main" id="{FEA4C908-B0BB-959E-5135-C78EED5B580B}"/>
                </a:ext>
              </a:extLst>
            </p:cNvPr>
            <p:cNvSpPr/>
            <p:nvPr/>
          </p:nvSpPr>
          <p:spPr>
            <a:xfrm>
              <a:off x="6554912" y="4691442"/>
              <a:ext cx="319596" cy="956569"/>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a:solidFill>
                    <a:srgbClr val="002060"/>
                  </a:solidFill>
                </a:rPr>
                <a:t>Vendor B</a:t>
              </a:r>
            </a:p>
          </p:txBody>
        </p:sp>
        <p:sp>
          <p:nvSpPr>
            <p:cNvPr id="103" name="Rectangle 102">
              <a:extLst>
                <a:ext uri="{FF2B5EF4-FFF2-40B4-BE49-F238E27FC236}">
                  <a16:creationId xmlns:a16="http://schemas.microsoft.com/office/drawing/2014/main" id="{CE287780-6B6A-4EEA-06E8-726336D71246}"/>
                </a:ext>
              </a:extLst>
            </p:cNvPr>
            <p:cNvSpPr/>
            <p:nvPr/>
          </p:nvSpPr>
          <p:spPr>
            <a:xfrm>
              <a:off x="7136833" y="4691443"/>
              <a:ext cx="319596" cy="956569"/>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a:solidFill>
                    <a:srgbClr val="002060"/>
                  </a:solidFill>
                </a:rPr>
                <a:t>Vendor B</a:t>
              </a:r>
            </a:p>
          </p:txBody>
        </p:sp>
        <p:sp>
          <p:nvSpPr>
            <p:cNvPr id="104" name="Rectangle 103">
              <a:extLst>
                <a:ext uri="{FF2B5EF4-FFF2-40B4-BE49-F238E27FC236}">
                  <a16:creationId xmlns:a16="http://schemas.microsoft.com/office/drawing/2014/main" id="{FAF67A1A-B430-6952-D1C2-F97AB486CA95}"/>
                </a:ext>
              </a:extLst>
            </p:cNvPr>
            <p:cNvSpPr/>
            <p:nvPr/>
          </p:nvSpPr>
          <p:spPr>
            <a:xfrm>
              <a:off x="7718754" y="4691441"/>
              <a:ext cx="319596" cy="956569"/>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a:solidFill>
                    <a:srgbClr val="FFFF00"/>
                  </a:solidFill>
                </a:rPr>
                <a:t>Vendor C</a:t>
              </a:r>
            </a:p>
          </p:txBody>
        </p:sp>
        <p:sp>
          <p:nvSpPr>
            <p:cNvPr id="105" name="Rectangle 104">
              <a:extLst>
                <a:ext uri="{FF2B5EF4-FFF2-40B4-BE49-F238E27FC236}">
                  <a16:creationId xmlns:a16="http://schemas.microsoft.com/office/drawing/2014/main" id="{4C6CCC18-A6A2-E649-016A-2AC6AB51BFDE}"/>
                </a:ext>
              </a:extLst>
            </p:cNvPr>
            <p:cNvSpPr/>
            <p:nvPr/>
          </p:nvSpPr>
          <p:spPr>
            <a:xfrm>
              <a:off x="5417411" y="4691444"/>
              <a:ext cx="319596" cy="956566"/>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a:t>Vendor A</a:t>
              </a:r>
            </a:p>
          </p:txBody>
        </p:sp>
        <p:sp>
          <p:nvSpPr>
            <p:cNvPr id="106" name="Rectangle 105">
              <a:extLst>
                <a:ext uri="{FF2B5EF4-FFF2-40B4-BE49-F238E27FC236}">
                  <a16:creationId xmlns:a16="http://schemas.microsoft.com/office/drawing/2014/main" id="{1B9A7589-49F7-5DB0-8D58-8FD9FA601339}"/>
                </a:ext>
              </a:extLst>
            </p:cNvPr>
            <p:cNvSpPr/>
            <p:nvPr/>
          </p:nvSpPr>
          <p:spPr>
            <a:xfrm>
              <a:off x="5373742" y="3805192"/>
              <a:ext cx="2620940" cy="372862"/>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V1</a:t>
              </a:r>
              <a:endParaRPr lang="en-US" dirty="0"/>
            </a:p>
          </p:txBody>
        </p:sp>
        <p:sp>
          <p:nvSpPr>
            <p:cNvPr id="107" name="Rectangle 106">
              <a:extLst>
                <a:ext uri="{FF2B5EF4-FFF2-40B4-BE49-F238E27FC236}">
                  <a16:creationId xmlns:a16="http://schemas.microsoft.com/office/drawing/2014/main" id="{D5FDA76C-F43C-9796-EB7A-6ED86525404E}"/>
                </a:ext>
              </a:extLst>
            </p:cNvPr>
            <p:cNvSpPr/>
            <p:nvPr/>
          </p:nvSpPr>
          <p:spPr>
            <a:xfrm>
              <a:off x="5386914" y="3309553"/>
              <a:ext cx="2620940" cy="372862"/>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Transport Network</a:t>
              </a:r>
            </a:p>
          </p:txBody>
        </p:sp>
        <p:sp>
          <p:nvSpPr>
            <p:cNvPr id="108" name="Rectangle 107">
              <a:extLst>
                <a:ext uri="{FF2B5EF4-FFF2-40B4-BE49-F238E27FC236}">
                  <a16:creationId xmlns:a16="http://schemas.microsoft.com/office/drawing/2014/main" id="{87156963-A5F8-0726-27EC-1BDBECD22C49}"/>
                </a:ext>
              </a:extLst>
            </p:cNvPr>
            <p:cNvSpPr/>
            <p:nvPr/>
          </p:nvSpPr>
          <p:spPr>
            <a:xfrm>
              <a:off x="5956100" y="1892686"/>
              <a:ext cx="319596" cy="926444"/>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a:t>service</a:t>
              </a:r>
              <a:endParaRPr lang="en-US" dirty="0"/>
            </a:p>
          </p:txBody>
        </p:sp>
        <p:sp>
          <p:nvSpPr>
            <p:cNvPr id="109" name="Rectangle 108">
              <a:extLst>
                <a:ext uri="{FF2B5EF4-FFF2-40B4-BE49-F238E27FC236}">
                  <a16:creationId xmlns:a16="http://schemas.microsoft.com/office/drawing/2014/main" id="{658582F5-4203-C446-D7BD-585F461A5E8A}"/>
                </a:ext>
              </a:extLst>
            </p:cNvPr>
            <p:cNvSpPr/>
            <p:nvPr/>
          </p:nvSpPr>
          <p:spPr>
            <a:xfrm>
              <a:off x="6518339" y="1897982"/>
              <a:ext cx="319596" cy="926444"/>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a:t>service</a:t>
              </a:r>
              <a:endParaRPr lang="en-US" dirty="0"/>
            </a:p>
          </p:txBody>
        </p:sp>
        <p:sp>
          <p:nvSpPr>
            <p:cNvPr id="110" name="Rectangle 109">
              <a:extLst>
                <a:ext uri="{FF2B5EF4-FFF2-40B4-BE49-F238E27FC236}">
                  <a16:creationId xmlns:a16="http://schemas.microsoft.com/office/drawing/2014/main" id="{BC42D90C-8158-F688-C020-0738D39FE3EA}"/>
                </a:ext>
              </a:extLst>
            </p:cNvPr>
            <p:cNvSpPr/>
            <p:nvPr/>
          </p:nvSpPr>
          <p:spPr>
            <a:xfrm>
              <a:off x="7126601" y="1893671"/>
              <a:ext cx="319596" cy="926444"/>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a:t>service</a:t>
              </a:r>
              <a:endParaRPr lang="en-US" dirty="0"/>
            </a:p>
          </p:txBody>
        </p:sp>
        <p:sp>
          <p:nvSpPr>
            <p:cNvPr id="111" name="Rectangle 110">
              <a:extLst>
                <a:ext uri="{FF2B5EF4-FFF2-40B4-BE49-F238E27FC236}">
                  <a16:creationId xmlns:a16="http://schemas.microsoft.com/office/drawing/2014/main" id="{DA0D8224-2F34-7135-128C-A59A55ACDF31}"/>
                </a:ext>
              </a:extLst>
            </p:cNvPr>
            <p:cNvSpPr/>
            <p:nvPr/>
          </p:nvSpPr>
          <p:spPr>
            <a:xfrm>
              <a:off x="7682181" y="1893671"/>
              <a:ext cx="319596" cy="926444"/>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a:t>service</a:t>
              </a:r>
              <a:endParaRPr lang="en-US" dirty="0"/>
            </a:p>
          </p:txBody>
        </p:sp>
        <p:sp>
          <p:nvSpPr>
            <p:cNvPr id="112" name="Rectangle 111">
              <a:extLst>
                <a:ext uri="{FF2B5EF4-FFF2-40B4-BE49-F238E27FC236}">
                  <a16:creationId xmlns:a16="http://schemas.microsoft.com/office/drawing/2014/main" id="{510077FA-BF2B-4C75-82DC-D8B845CA4101}"/>
                </a:ext>
              </a:extLst>
            </p:cNvPr>
            <p:cNvSpPr/>
            <p:nvPr/>
          </p:nvSpPr>
          <p:spPr>
            <a:xfrm>
              <a:off x="5411335" y="1891302"/>
              <a:ext cx="319596" cy="926444"/>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a:t>service</a:t>
              </a:r>
              <a:endParaRPr lang="en-US" sz="1600" dirty="0"/>
            </a:p>
          </p:txBody>
        </p:sp>
        <p:sp>
          <p:nvSpPr>
            <p:cNvPr id="113" name="Rectangle 112">
              <a:extLst>
                <a:ext uri="{FF2B5EF4-FFF2-40B4-BE49-F238E27FC236}">
                  <a16:creationId xmlns:a16="http://schemas.microsoft.com/office/drawing/2014/main" id="{03E0D4CB-FDC6-DA63-2B08-3DDDACF975B5}"/>
                </a:ext>
              </a:extLst>
            </p:cNvPr>
            <p:cNvSpPr/>
            <p:nvPr/>
          </p:nvSpPr>
          <p:spPr>
            <a:xfrm>
              <a:off x="5386914" y="2902570"/>
              <a:ext cx="2620940" cy="372862"/>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Core Network</a:t>
              </a:r>
              <a:endParaRPr lang="en-US" sz="1600" dirty="0"/>
            </a:p>
          </p:txBody>
        </p:sp>
        <p:sp>
          <p:nvSpPr>
            <p:cNvPr id="114" name="Rectangle 113">
              <a:extLst>
                <a:ext uri="{FF2B5EF4-FFF2-40B4-BE49-F238E27FC236}">
                  <a16:creationId xmlns:a16="http://schemas.microsoft.com/office/drawing/2014/main" id="{AB37D81D-40A5-53A7-24C2-D79032B31A2A}"/>
                </a:ext>
              </a:extLst>
            </p:cNvPr>
            <p:cNvSpPr/>
            <p:nvPr/>
          </p:nvSpPr>
          <p:spPr>
            <a:xfrm>
              <a:off x="5386914" y="4195805"/>
              <a:ext cx="2620940" cy="37286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COTS Servers</a:t>
              </a:r>
            </a:p>
          </p:txBody>
        </p:sp>
      </p:grpSp>
      <p:grpSp>
        <p:nvGrpSpPr>
          <p:cNvPr id="155" name="Group 154">
            <a:extLst>
              <a:ext uri="{FF2B5EF4-FFF2-40B4-BE49-F238E27FC236}">
                <a16:creationId xmlns:a16="http://schemas.microsoft.com/office/drawing/2014/main" id="{371CA445-4FB0-623D-0673-558891C13436}"/>
              </a:ext>
            </a:extLst>
          </p:cNvPr>
          <p:cNvGrpSpPr/>
          <p:nvPr/>
        </p:nvGrpSpPr>
        <p:grpSpPr>
          <a:xfrm>
            <a:off x="9197054" y="2076424"/>
            <a:ext cx="2270860" cy="4231166"/>
            <a:chOff x="9197054" y="2076424"/>
            <a:chExt cx="2270860" cy="4231166"/>
          </a:xfrm>
        </p:grpSpPr>
        <p:sp>
          <p:nvSpPr>
            <p:cNvPr id="137" name="Rectangle: Rounded Corners 136">
              <a:extLst>
                <a:ext uri="{FF2B5EF4-FFF2-40B4-BE49-F238E27FC236}">
                  <a16:creationId xmlns:a16="http://schemas.microsoft.com/office/drawing/2014/main" id="{2516B19F-F3F9-19D3-C891-3D2E8F7A8840}"/>
                </a:ext>
              </a:extLst>
            </p:cNvPr>
            <p:cNvSpPr/>
            <p:nvPr/>
          </p:nvSpPr>
          <p:spPr>
            <a:xfrm>
              <a:off x="9197054" y="2076424"/>
              <a:ext cx="2270860" cy="4231166"/>
            </a:xfrm>
            <a:prstGeom prst="round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5" name="Group 114">
              <a:extLst>
                <a:ext uri="{FF2B5EF4-FFF2-40B4-BE49-F238E27FC236}">
                  <a16:creationId xmlns:a16="http://schemas.microsoft.com/office/drawing/2014/main" id="{10C95ABC-50BF-D2E2-0A3D-06ABCDFA21AE}"/>
                </a:ext>
              </a:extLst>
            </p:cNvPr>
            <p:cNvGrpSpPr/>
            <p:nvPr/>
          </p:nvGrpSpPr>
          <p:grpSpPr>
            <a:xfrm>
              <a:off x="9325315" y="2301125"/>
              <a:ext cx="1965045" cy="3724469"/>
              <a:chOff x="5334999" y="1891302"/>
              <a:chExt cx="2703352" cy="3756710"/>
            </a:xfrm>
          </p:grpSpPr>
          <p:sp>
            <p:nvSpPr>
              <p:cNvPr id="116" name="Rectangle 115">
                <a:extLst>
                  <a:ext uri="{FF2B5EF4-FFF2-40B4-BE49-F238E27FC236}">
                    <a16:creationId xmlns:a16="http://schemas.microsoft.com/office/drawing/2014/main" id="{68CDB1B6-D119-EA50-9735-7A0BD9149123}"/>
                  </a:ext>
                </a:extLst>
              </p:cNvPr>
              <p:cNvSpPr/>
              <p:nvPr/>
            </p:nvSpPr>
            <p:spPr>
              <a:xfrm>
                <a:off x="5334999" y="3710046"/>
                <a:ext cx="2703352" cy="956566"/>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7" name="Rectangle 116">
                <a:extLst>
                  <a:ext uri="{FF2B5EF4-FFF2-40B4-BE49-F238E27FC236}">
                    <a16:creationId xmlns:a16="http://schemas.microsoft.com/office/drawing/2014/main" id="{633EE503-B5E3-D310-04AD-D72B40F58632}"/>
                  </a:ext>
                </a:extLst>
              </p:cNvPr>
              <p:cNvSpPr/>
              <p:nvPr/>
            </p:nvSpPr>
            <p:spPr>
              <a:xfrm>
                <a:off x="5984896" y="4691441"/>
                <a:ext cx="319596" cy="956569"/>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a:t>Vendor A</a:t>
                </a:r>
              </a:p>
            </p:txBody>
          </p:sp>
          <p:sp>
            <p:nvSpPr>
              <p:cNvPr id="118" name="Rectangle 117">
                <a:extLst>
                  <a:ext uri="{FF2B5EF4-FFF2-40B4-BE49-F238E27FC236}">
                    <a16:creationId xmlns:a16="http://schemas.microsoft.com/office/drawing/2014/main" id="{03317FBF-CDA1-2526-A235-F2B3C3E4E8DA}"/>
                  </a:ext>
                </a:extLst>
              </p:cNvPr>
              <p:cNvSpPr/>
              <p:nvPr/>
            </p:nvSpPr>
            <p:spPr>
              <a:xfrm>
                <a:off x="6554912" y="4691442"/>
                <a:ext cx="319596" cy="956569"/>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a:solidFill>
                      <a:srgbClr val="002060"/>
                    </a:solidFill>
                  </a:rPr>
                  <a:t>Vendor B</a:t>
                </a:r>
              </a:p>
            </p:txBody>
          </p:sp>
          <p:sp>
            <p:nvSpPr>
              <p:cNvPr id="119" name="Rectangle 118">
                <a:extLst>
                  <a:ext uri="{FF2B5EF4-FFF2-40B4-BE49-F238E27FC236}">
                    <a16:creationId xmlns:a16="http://schemas.microsoft.com/office/drawing/2014/main" id="{72B6B285-D543-3CFE-3A6E-B8162F70FF9F}"/>
                  </a:ext>
                </a:extLst>
              </p:cNvPr>
              <p:cNvSpPr/>
              <p:nvPr/>
            </p:nvSpPr>
            <p:spPr>
              <a:xfrm>
                <a:off x="7136833" y="4691443"/>
                <a:ext cx="319596" cy="956569"/>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a:solidFill>
                      <a:srgbClr val="002060"/>
                    </a:solidFill>
                  </a:rPr>
                  <a:t>Vendor B</a:t>
                </a:r>
              </a:p>
            </p:txBody>
          </p:sp>
          <p:sp>
            <p:nvSpPr>
              <p:cNvPr id="120" name="Rectangle 119">
                <a:extLst>
                  <a:ext uri="{FF2B5EF4-FFF2-40B4-BE49-F238E27FC236}">
                    <a16:creationId xmlns:a16="http://schemas.microsoft.com/office/drawing/2014/main" id="{98070451-1174-D681-21D2-2FD5F3D5ED34}"/>
                  </a:ext>
                </a:extLst>
              </p:cNvPr>
              <p:cNvSpPr/>
              <p:nvPr/>
            </p:nvSpPr>
            <p:spPr>
              <a:xfrm>
                <a:off x="7718754" y="4691441"/>
                <a:ext cx="319596" cy="956569"/>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a:solidFill>
                      <a:srgbClr val="FFFF00"/>
                    </a:solidFill>
                  </a:rPr>
                  <a:t>Vendor C</a:t>
                </a:r>
              </a:p>
            </p:txBody>
          </p:sp>
          <p:sp>
            <p:nvSpPr>
              <p:cNvPr id="121" name="Rectangle 120">
                <a:extLst>
                  <a:ext uri="{FF2B5EF4-FFF2-40B4-BE49-F238E27FC236}">
                    <a16:creationId xmlns:a16="http://schemas.microsoft.com/office/drawing/2014/main" id="{CE030A1D-BC6F-9C79-DAB5-763ACDCDCA22}"/>
                  </a:ext>
                </a:extLst>
              </p:cNvPr>
              <p:cNvSpPr/>
              <p:nvPr/>
            </p:nvSpPr>
            <p:spPr>
              <a:xfrm>
                <a:off x="5417411" y="4691444"/>
                <a:ext cx="319596" cy="956566"/>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a:t>Vendor A</a:t>
                </a:r>
              </a:p>
            </p:txBody>
          </p:sp>
          <p:sp>
            <p:nvSpPr>
              <p:cNvPr id="122" name="Rectangle 121">
                <a:extLst>
                  <a:ext uri="{FF2B5EF4-FFF2-40B4-BE49-F238E27FC236}">
                    <a16:creationId xmlns:a16="http://schemas.microsoft.com/office/drawing/2014/main" id="{860F9829-6BD5-7530-6445-9781CA575DD6}"/>
                  </a:ext>
                </a:extLst>
              </p:cNvPr>
              <p:cNvSpPr/>
              <p:nvPr/>
            </p:nvSpPr>
            <p:spPr>
              <a:xfrm>
                <a:off x="5373742" y="3805192"/>
                <a:ext cx="2620940" cy="372862"/>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accent6">
                        <a:lumMod val="50000"/>
                      </a:schemeClr>
                    </a:solidFill>
                  </a:rPr>
                  <a:t>V2</a:t>
                </a:r>
                <a:endParaRPr lang="en-US" dirty="0">
                  <a:solidFill>
                    <a:schemeClr val="accent6">
                      <a:lumMod val="50000"/>
                    </a:schemeClr>
                  </a:solidFill>
                </a:endParaRPr>
              </a:p>
            </p:txBody>
          </p:sp>
          <p:sp>
            <p:nvSpPr>
              <p:cNvPr id="123" name="Rectangle 122">
                <a:extLst>
                  <a:ext uri="{FF2B5EF4-FFF2-40B4-BE49-F238E27FC236}">
                    <a16:creationId xmlns:a16="http://schemas.microsoft.com/office/drawing/2014/main" id="{1CDFE097-56F8-B100-A641-9B75D76CE481}"/>
                  </a:ext>
                </a:extLst>
              </p:cNvPr>
              <p:cNvSpPr/>
              <p:nvPr/>
            </p:nvSpPr>
            <p:spPr>
              <a:xfrm>
                <a:off x="5386914" y="3309553"/>
                <a:ext cx="2620940" cy="372862"/>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Transport Network</a:t>
                </a:r>
              </a:p>
            </p:txBody>
          </p:sp>
          <p:sp>
            <p:nvSpPr>
              <p:cNvPr id="124" name="Rectangle 123">
                <a:extLst>
                  <a:ext uri="{FF2B5EF4-FFF2-40B4-BE49-F238E27FC236}">
                    <a16:creationId xmlns:a16="http://schemas.microsoft.com/office/drawing/2014/main" id="{DDF8E6B1-CCB4-47B1-5991-46BCC8F25767}"/>
                  </a:ext>
                </a:extLst>
              </p:cNvPr>
              <p:cNvSpPr/>
              <p:nvPr/>
            </p:nvSpPr>
            <p:spPr>
              <a:xfrm>
                <a:off x="5956100" y="1892686"/>
                <a:ext cx="319596" cy="926444"/>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a:t>service</a:t>
                </a:r>
                <a:endParaRPr lang="en-US" dirty="0"/>
              </a:p>
            </p:txBody>
          </p:sp>
          <p:sp>
            <p:nvSpPr>
              <p:cNvPr id="125" name="Rectangle 124">
                <a:extLst>
                  <a:ext uri="{FF2B5EF4-FFF2-40B4-BE49-F238E27FC236}">
                    <a16:creationId xmlns:a16="http://schemas.microsoft.com/office/drawing/2014/main" id="{E2BD8490-D708-7106-909D-B65F53309DBA}"/>
                  </a:ext>
                </a:extLst>
              </p:cNvPr>
              <p:cNvSpPr/>
              <p:nvPr/>
            </p:nvSpPr>
            <p:spPr>
              <a:xfrm>
                <a:off x="6518339" y="1897982"/>
                <a:ext cx="319596" cy="926444"/>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a:t>service</a:t>
                </a:r>
                <a:endParaRPr lang="en-US" dirty="0"/>
              </a:p>
            </p:txBody>
          </p:sp>
          <p:sp>
            <p:nvSpPr>
              <p:cNvPr id="126" name="Rectangle 125">
                <a:extLst>
                  <a:ext uri="{FF2B5EF4-FFF2-40B4-BE49-F238E27FC236}">
                    <a16:creationId xmlns:a16="http://schemas.microsoft.com/office/drawing/2014/main" id="{5FA4AE26-8BAE-31EE-4D68-C9170CEFA32F}"/>
                  </a:ext>
                </a:extLst>
              </p:cNvPr>
              <p:cNvSpPr/>
              <p:nvPr/>
            </p:nvSpPr>
            <p:spPr>
              <a:xfrm>
                <a:off x="7126601" y="1893671"/>
                <a:ext cx="319596" cy="926444"/>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a:t>service</a:t>
                </a:r>
                <a:endParaRPr lang="en-US" dirty="0"/>
              </a:p>
            </p:txBody>
          </p:sp>
          <p:sp>
            <p:nvSpPr>
              <p:cNvPr id="127" name="Rectangle 126">
                <a:extLst>
                  <a:ext uri="{FF2B5EF4-FFF2-40B4-BE49-F238E27FC236}">
                    <a16:creationId xmlns:a16="http://schemas.microsoft.com/office/drawing/2014/main" id="{9C2F98E7-B478-41A0-9EEC-3DBD5ED61659}"/>
                  </a:ext>
                </a:extLst>
              </p:cNvPr>
              <p:cNvSpPr/>
              <p:nvPr/>
            </p:nvSpPr>
            <p:spPr>
              <a:xfrm>
                <a:off x="7682181" y="1893671"/>
                <a:ext cx="319596" cy="926444"/>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a:t>service</a:t>
                </a:r>
                <a:endParaRPr lang="en-US" dirty="0"/>
              </a:p>
            </p:txBody>
          </p:sp>
          <p:sp>
            <p:nvSpPr>
              <p:cNvPr id="128" name="Rectangle 127">
                <a:extLst>
                  <a:ext uri="{FF2B5EF4-FFF2-40B4-BE49-F238E27FC236}">
                    <a16:creationId xmlns:a16="http://schemas.microsoft.com/office/drawing/2014/main" id="{EE740600-41BD-C827-2324-F426EE41A2D9}"/>
                  </a:ext>
                </a:extLst>
              </p:cNvPr>
              <p:cNvSpPr/>
              <p:nvPr/>
            </p:nvSpPr>
            <p:spPr>
              <a:xfrm>
                <a:off x="5411335" y="1891302"/>
                <a:ext cx="319596" cy="926444"/>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a:t>service</a:t>
                </a:r>
                <a:endParaRPr lang="en-US" sz="1600" dirty="0"/>
              </a:p>
            </p:txBody>
          </p:sp>
          <p:sp>
            <p:nvSpPr>
              <p:cNvPr id="129" name="Rectangle 128">
                <a:extLst>
                  <a:ext uri="{FF2B5EF4-FFF2-40B4-BE49-F238E27FC236}">
                    <a16:creationId xmlns:a16="http://schemas.microsoft.com/office/drawing/2014/main" id="{C1FAAAD4-7CA7-1336-20E9-F42FED407031}"/>
                  </a:ext>
                </a:extLst>
              </p:cNvPr>
              <p:cNvSpPr/>
              <p:nvPr/>
            </p:nvSpPr>
            <p:spPr>
              <a:xfrm>
                <a:off x="5367667" y="2902259"/>
                <a:ext cx="2620939" cy="372862"/>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Core Network</a:t>
                </a:r>
                <a:endParaRPr lang="en-US" sz="1600" dirty="0"/>
              </a:p>
            </p:txBody>
          </p:sp>
          <p:sp>
            <p:nvSpPr>
              <p:cNvPr id="130" name="Rectangle 129">
                <a:extLst>
                  <a:ext uri="{FF2B5EF4-FFF2-40B4-BE49-F238E27FC236}">
                    <a16:creationId xmlns:a16="http://schemas.microsoft.com/office/drawing/2014/main" id="{90932256-1DBC-9EDE-327E-7D3F24351D90}"/>
                  </a:ext>
                </a:extLst>
              </p:cNvPr>
              <p:cNvSpPr/>
              <p:nvPr/>
            </p:nvSpPr>
            <p:spPr>
              <a:xfrm>
                <a:off x="5386914" y="4195805"/>
                <a:ext cx="2620940" cy="37286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COTS Servers</a:t>
                </a:r>
              </a:p>
            </p:txBody>
          </p:sp>
        </p:grpSp>
      </p:grpSp>
      <p:sp>
        <p:nvSpPr>
          <p:cNvPr id="139" name="TextBox 138">
            <a:extLst>
              <a:ext uri="{FF2B5EF4-FFF2-40B4-BE49-F238E27FC236}">
                <a16:creationId xmlns:a16="http://schemas.microsoft.com/office/drawing/2014/main" id="{C9E944BA-C7DD-2BD7-5A70-91544AD04EA2}"/>
              </a:ext>
            </a:extLst>
          </p:cNvPr>
          <p:cNvSpPr txBox="1"/>
          <p:nvPr/>
        </p:nvSpPr>
        <p:spPr>
          <a:xfrm>
            <a:off x="6456945" y="1257118"/>
            <a:ext cx="2723020" cy="646331"/>
          </a:xfrm>
          <a:prstGeom prst="rect">
            <a:avLst/>
          </a:prstGeom>
          <a:noFill/>
        </p:spPr>
        <p:txBody>
          <a:bodyPr wrap="square" rtlCol="0">
            <a:spAutoFit/>
          </a:bodyPr>
          <a:lstStyle/>
          <a:p>
            <a:r>
              <a:rPr lang="en-US" sz="1200" dirty="0"/>
              <a:t>Existing Vendor HW A could be swapped out easily when required with a new Vendor HW B or C</a:t>
            </a:r>
          </a:p>
        </p:txBody>
      </p:sp>
      <p:sp>
        <p:nvSpPr>
          <p:cNvPr id="141" name="TextBox 140">
            <a:extLst>
              <a:ext uri="{FF2B5EF4-FFF2-40B4-BE49-F238E27FC236}">
                <a16:creationId xmlns:a16="http://schemas.microsoft.com/office/drawing/2014/main" id="{A61791A5-EF0D-2AE2-F662-2B246A354436}"/>
              </a:ext>
            </a:extLst>
          </p:cNvPr>
          <p:cNvSpPr txBox="1"/>
          <p:nvPr/>
        </p:nvSpPr>
        <p:spPr>
          <a:xfrm>
            <a:off x="9145598" y="1197563"/>
            <a:ext cx="2823938" cy="830997"/>
          </a:xfrm>
          <a:prstGeom prst="rect">
            <a:avLst/>
          </a:prstGeom>
          <a:noFill/>
        </p:spPr>
        <p:txBody>
          <a:bodyPr wrap="square" rtlCol="0">
            <a:spAutoFit/>
          </a:bodyPr>
          <a:lstStyle/>
          <a:p>
            <a:r>
              <a:rPr lang="en-US" sz="1200" dirty="0"/>
              <a:t>SP/MNO could replace the </a:t>
            </a:r>
            <a:r>
              <a:rPr lang="en-US" sz="1200" dirty="0" err="1"/>
              <a:t>OpenRAN</a:t>
            </a:r>
            <a:r>
              <a:rPr lang="en-US" sz="1200" dirty="0"/>
              <a:t> SW as easily as the did the HW. Existing HW continues to work with the new SW from Vendor V2</a:t>
            </a:r>
          </a:p>
        </p:txBody>
      </p:sp>
      <p:sp>
        <p:nvSpPr>
          <p:cNvPr id="146" name="TextBox 145">
            <a:extLst>
              <a:ext uri="{FF2B5EF4-FFF2-40B4-BE49-F238E27FC236}">
                <a16:creationId xmlns:a16="http://schemas.microsoft.com/office/drawing/2014/main" id="{396F5A3B-6838-6C25-02C8-B374CC18643E}"/>
              </a:ext>
            </a:extLst>
          </p:cNvPr>
          <p:cNvSpPr txBox="1"/>
          <p:nvPr/>
        </p:nvSpPr>
        <p:spPr>
          <a:xfrm>
            <a:off x="104404" y="3738024"/>
            <a:ext cx="1411522" cy="253916"/>
          </a:xfrm>
          <a:prstGeom prst="rect">
            <a:avLst/>
          </a:prstGeom>
          <a:noFill/>
        </p:spPr>
        <p:txBody>
          <a:bodyPr wrap="square">
            <a:spAutoFit/>
          </a:bodyPr>
          <a:lstStyle/>
          <a:p>
            <a:pPr algn="ctr"/>
            <a:r>
              <a:rPr lang="en-US" sz="1050" b="1" dirty="0">
                <a:solidFill>
                  <a:schemeClr val="bg1"/>
                </a:solidFill>
                <a:highlight>
                  <a:srgbClr val="800000"/>
                </a:highlight>
              </a:rPr>
              <a:t>Transport Network</a:t>
            </a:r>
          </a:p>
        </p:txBody>
      </p:sp>
      <p:sp>
        <p:nvSpPr>
          <p:cNvPr id="150" name="TextBox 149">
            <a:extLst>
              <a:ext uri="{FF2B5EF4-FFF2-40B4-BE49-F238E27FC236}">
                <a16:creationId xmlns:a16="http://schemas.microsoft.com/office/drawing/2014/main" id="{762EEF6F-E814-59B6-C179-0848516BB918}"/>
              </a:ext>
            </a:extLst>
          </p:cNvPr>
          <p:cNvSpPr txBox="1"/>
          <p:nvPr/>
        </p:nvSpPr>
        <p:spPr>
          <a:xfrm>
            <a:off x="112645" y="3365897"/>
            <a:ext cx="1289022" cy="276999"/>
          </a:xfrm>
          <a:prstGeom prst="rect">
            <a:avLst/>
          </a:prstGeom>
          <a:noFill/>
        </p:spPr>
        <p:txBody>
          <a:bodyPr wrap="square">
            <a:spAutoFit/>
          </a:bodyPr>
          <a:lstStyle/>
          <a:p>
            <a:pPr algn="ctr"/>
            <a:r>
              <a:rPr lang="en-US" sz="1200" b="1" dirty="0">
                <a:solidFill>
                  <a:schemeClr val="bg1"/>
                </a:solidFill>
                <a:highlight>
                  <a:srgbClr val="800080"/>
                </a:highlight>
              </a:rPr>
              <a:t>Core Network</a:t>
            </a:r>
          </a:p>
        </p:txBody>
      </p:sp>
      <p:sp>
        <p:nvSpPr>
          <p:cNvPr id="154" name="TextBox 153">
            <a:extLst>
              <a:ext uri="{FF2B5EF4-FFF2-40B4-BE49-F238E27FC236}">
                <a16:creationId xmlns:a16="http://schemas.microsoft.com/office/drawing/2014/main" id="{8833211F-480B-BBE8-B4D3-3862E2A811EE}"/>
              </a:ext>
            </a:extLst>
          </p:cNvPr>
          <p:cNvSpPr txBox="1"/>
          <p:nvPr/>
        </p:nvSpPr>
        <p:spPr>
          <a:xfrm>
            <a:off x="104404" y="2634347"/>
            <a:ext cx="1289022" cy="338554"/>
          </a:xfrm>
          <a:prstGeom prst="rect">
            <a:avLst/>
          </a:prstGeom>
          <a:noFill/>
        </p:spPr>
        <p:txBody>
          <a:bodyPr wrap="square">
            <a:spAutoFit/>
          </a:bodyPr>
          <a:lstStyle/>
          <a:p>
            <a:pPr algn="ctr"/>
            <a:r>
              <a:rPr lang="en-US" sz="1600" b="1" dirty="0">
                <a:solidFill>
                  <a:schemeClr val="bg1"/>
                </a:solidFill>
                <a:highlight>
                  <a:srgbClr val="000000"/>
                </a:highlight>
              </a:rPr>
              <a:t>Services</a:t>
            </a:r>
            <a:endParaRPr lang="en-US" sz="1200" b="1" dirty="0">
              <a:solidFill>
                <a:schemeClr val="bg1"/>
              </a:solidFill>
              <a:highlight>
                <a:srgbClr val="000000"/>
              </a:highlight>
            </a:endParaRPr>
          </a:p>
        </p:txBody>
      </p:sp>
    </p:spTree>
    <p:extLst>
      <p:ext uri="{BB962C8B-B14F-4D97-AF65-F5344CB8AC3E}">
        <p14:creationId xmlns:p14="http://schemas.microsoft.com/office/powerpoint/2010/main" val="33655566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CB672DE-DC69-7579-802C-246D7E863BB0}"/>
              </a:ext>
            </a:extLst>
          </p:cNvPr>
          <p:cNvSpPr>
            <a:spLocks noGrp="1"/>
          </p:cNvSpPr>
          <p:nvPr>
            <p:ph type="body" sz="quarter" idx="10"/>
          </p:nvPr>
        </p:nvSpPr>
        <p:spPr>
          <a:xfrm>
            <a:off x="302547" y="567743"/>
            <a:ext cx="11581530" cy="480350"/>
          </a:xfrm>
        </p:spPr>
        <p:txBody>
          <a:bodyPr/>
          <a:lstStyle/>
          <a:p>
            <a:r>
              <a:rPr lang="en-US" dirty="0"/>
              <a:t>Why ORAN?</a:t>
            </a:r>
          </a:p>
        </p:txBody>
      </p:sp>
      <p:sp>
        <p:nvSpPr>
          <p:cNvPr id="4" name="Footer Placeholder 3">
            <a:extLst>
              <a:ext uri="{FF2B5EF4-FFF2-40B4-BE49-F238E27FC236}">
                <a16:creationId xmlns:a16="http://schemas.microsoft.com/office/drawing/2014/main" id="{928AF606-4BFE-9A4D-6E71-C7B67F254DC5}"/>
              </a:ext>
            </a:extLst>
          </p:cNvPr>
          <p:cNvSpPr>
            <a:spLocks noGrp="1"/>
          </p:cNvSpPr>
          <p:nvPr>
            <p:ph type="ftr" sz="quarter" idx="3"/>
          </p:nvPr>
        </p:nvSpPr>
        <p:spPr/>
        <p:txBody>
          <a:bodyPr/>
          <a:lstStyle/>
          <a:p>
            <a:r>
              <a:rPr lang="en-US" dirty="0"/>
              <a:t>Case Study</a:t>
            </a:r>
          </a:p>
        </p:txBody>
      </p:sp>
      <p:grpSp>
        <p:nvGrpSpPr>
          <p:cNvPr id="147" name="Group 146">
            <a:extLst>
              <a:ext uri="{FF2B5EF4-FFF2-40B4-BE49-F238E27FC236}">
                <a16:creationId xmlns:a16="http://schemas.microsoft.com/office/drawing/2014/main" id="{B77D4127-6E2D-1302-225C-842500D9B978}"/>
              </a:ext>
            </a:extLst>
          </p:cNvPr>
          <p:cNvGrpSpPr/>
          <p:nvPr/>
        </p:nvGrpSpPr>
        <p:grpSpPr>
          <a:xfrm>
            <a:off x="5008172" y="1663393"/>
            <a:ext cx="6875906" cy="3036164"/>
            <a:chOff x="4865912" y="1986414"/>
            <a:chExt cx="6832739" cy="3169238"/>
          </a:xfrm>
        </p:grpSpPr>
        <p:sp>
          <p:nvSpPr>
            <p:cNvPr id="9" name="Oval 8">
              <a:extLst>
                <a:ext uri="{FF2B5EF4-FFF2-40B4-BE49-F238E27FC236}">
                  <a16:creationId xmlns:a16="http://schemas.microsoft.com/office/drawing/2014/main" id="{01FBF401-2356-5EE0-13C7-A99982A5E34C}"/>
                </a:ext>
              </a:extLst>
            </p:cNvPr>
            <p:cNvSpPr/>
            <p:nvPr/>
          </p:nvSpPr>
          <p:spPr>
            <a:xfrm>
              <a:off x="7100767" y="2574516"/>
              <a:ext cx="1999340" cy="19708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4B808CA2-37BA-8890-55BC-5A64A025ECCF}"/>
                </a:ext>
              </a:extLst>
            </p:cNvPr>
            <p:cNvSpPr/>
            <p:nvPr/>
          </p:nvSpPr>
          <p:spPr>
            <a:xfrm>
              <a:off x="7262499" y="2707680"/>
              <a:ext cx="1677810" cy="1669002"/>
            </a:xfrm>
            <a:prstGeom prst="ellipse">
              <a:avLst/>
            </a:prstGeom>
            <a:solidFill>
              <a:srgbClr val="889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B46CF431-0660-3C53-1269-A2BF75C6355A}"/>
                </a:ext>
              </a:extLst>
            </p:cNvPr>
            <p:cNvSpPr/>
            <p:nvPr/>
          </p:nvSpPr>
          <p:spPr>
            <a:xfrm>
              <a:off x="7403989" y="2876356"/>
              <a:ext cx="1394276" cy="1340528"/>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a:extLst>
                <a:ext uri="{FF2B5EF4-FFF2-40B4-BE49-F238E27FC236}">
                  <a16:creationId xmlns:a16="http://schemas.microsoft.com/office/drawing/2014/main" id="{6D5E4A9D-E58F-D19B-3508-6E222E81AA17}"/>
                </a:ext>
              </a:extLst>
            </p:cNvPr>
            <p:cNvSpPr/>
            <p:nvPr/>
          </p:nvSpPr>
          <p:spPr>
            <a:xfrm>
              <a:off x="7542446" y="3019451"/>
              <a:ext cx="1104900" cy="1043527"/>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ORAN</a:t>
              </a:r>
            </a:p>
          </p:txBody>
        </p:sp>
        <p:sp>
          <p:nvSpPr>
            <p:cNvPr id="24" name="Oval 23">
              <a:extLst>
                <a:ext uri="{FF2B5EF4-FFF2-40B4-BE49-F238E27FC236}">
                  <a16:creationId xmlns:a16="http://schemas.microsoft.com/office/drawing/2014/main" id="{6D466FCD-906D-2487-7CD6-B9B7A1B77337}"/>
                </a:ext>
              </a:extLst>
            </p:cNvPr>
            <p:cNvSpPr/>
            <p:nvPr/>
          </p:nvSpPr>
          <p:spPr>
            <a:xfrm>
              <a:off x="8177244" y="1986414"/>
              <a:ext cx="720524" cy="663562"/>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41777407-9885-F6A1-CDC3-92E723914144}"/>
                </a:ext>
              </a:extLst>
            </p:cNvPr>
            <p:cNvSpPr/>
            <p:nvPr/>
          </p:nvSpPr>
          <p:spPr>
            <a:xfrm>
              <a:off x="9008775" y="2733574"/>
              <a:ext cx="690535" cy="663561"/>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val 27">
              <a:extLst>
                <a:ext uri="{FF2B5EF4-FFF2-40B4-BE49-F238E27FC236}">
                  <a16:creationId xmlns:a16="http://schemas.microsoft.com/office/drawing/2014/main" id="{926EC58C-5F99-9F43-9EAE-C9F494771503}"/>
                </a:ext>
              </a:extLst>
            </p:cNvPr>
            <p:cNvSpPr/>
            <p:nvPr/>
          </p:nvSpPr>
          <p:spPr>
            <a:xfrm>
              <a:off x="6872602" y="2205019"/>
              <a:ext cx="720524" cy="663562"/>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a:extLst>
                <a:ext uri="{FF2B5EF4-FFF2-40B4-BE49-F238E27FC236}">
                  <a16:creationId xmlns:a16="http://schemas.microsoft.com/office/drawing/2014/main" id="{D6A212C2-5B1F-CF2F-E3BB-A7E0ECCB4015}"/>
                </a:ext>
              </a:extLst>
            </p:cNvPr>
            <p:cNvSpPr/>
            <p:nvPr/>
          </p:nvSpPr>
          <p:spPr>
            <a:xfrm>
              <a:off x="9023393" y="3669865"/>
              <a:ext cx="720524" cy="663562"/>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a:extLst>
                <a:ext uri="{FF2B5EF4-FFF2-40B4-BE49-F238E27FC236}">
                  <a16:creationId xmlns:a16="http://schemas.microsoft.com/office/drawing/2014/main" id="{864F07CB-23EC-5212-35C2-A6B9C1E5916C}"/>
                </a:ext>
              </a:extLst>
            </p:cNvPr>
            <p:cNvSpPr/>
            <p:nvPr/>
          </p:nvSpPr>
          <p:spPr>
            <a:xfrm>
              <a:off x="6355474" y="3246956"/>
              <a:ext cx="720524" cy="663562"/>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a:extLst>
                <a:ext uri="{FF2B5EF4-FFF2-40B4-BE49-F238E27FC236}">
                  <a16:creationId xmlns:a16="http://schemas.microsoft.com/office/drawing/2014/main" id="{BC07BD76-F0E5-9290-426B-EB5F71341F8F}"/>
                </a:ext>
              </a:extLst>
            </p:cNvPr>
            <p:cNvSpPr/>
            <p:nvPr/>
          </p:nvSpPr>
          <p:spPr>
            <a:xfrm>
              <a:off x="6933258" y="4297915"/>
              <a:ext cx="720524" cy="663562"/>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Oval 35">
              <a:extLst>
                <a:ext uri="{FF2B5EF4-FFF2-40B4-BE49-F238E27FC236}">
                  <a16:creationId xmlns:a16="http://schemas.microsoft.com/office/drawing/2014/main" id="{B30804E9-4080-9F46-3229-3F300A787372}"/>
                </a:ext>
              </a:extLst>
            </p:cNvPr>
            <p:cNvSpPr/>
            <p:nvPr/>
          </p:nvSpPr>
          <p:spPr>
            <a:xfrm>
              <a:off x="8134336" y="4492090"/>
              <a:ext cx="720524" cy="663562"/>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7" name="Group 36">
              <a:extLst>
                <a:ext uri="{FF2B5EF4-FFF2-40B4-BE49-F238E27FC236}">
                  <a16:creationId xmlns:a16="http://schemas.microsoft.com/office/drawing/2014/main" id="{F4000C1C-2D7B-026A-BE8F-AE445611B726}"/>
                </a:ext>
              </a:extLst>
            </p:cNvPr>
            <p:cNvGrpSpPr/>
            <p:nvPr/>
          </p:nvGrpSpPr>
          <p:grpSpPr>
            <a:xfrm>
              <a:off x="8280801" y="2202360"/>
              <a:ext cx="517464" cy="268288"/>
              <a:chOff x="6542088" y="5246688"/>
              <a:chExt cx="523875" cy="268288"/>
            </a:xfrm>
            <a:solidFill>
              <a:srgbClr val="7030A0"/>
            </a:solidFill>
          </p:grpSpPr>
          <p:sp>
            <p:nvSpPr>
              <p:cNvPr id="38" name="Freeform 153">
                <a:extLst>
                  <a:ext uri="{FF2B5EF4-FFF2-40B4-BE49-F238E27FC236}">
                    <a16:creationId xmlns:a16="http://schemas.microsoft.com/office/drawing/2014/main" id="{C43FC6A1-C882-724C-7C5F-31964AB635C7}"/>
                  </a:ext>
                </a:extLst>
              </p:cNvPr>
              <p:cNvSpPr>
                <a:spLocks/>
              </p:cNvSpPr>
              <p:nvPr/>
            </p:nvSpPr>
            <p:spPr bwMode="auto">
              <a:xfrm>
                <a:off x="6745288" y="5287963"/>
                <a:ext cx="74613" cy="147638"/>
              </a:xfrm>
              <a:custGeom>
                <a:avLst/>
                <a:gdLst>
                  <a:gd name="T0" fmla="*/ 10 w 20"/>
                  <a:gd name="T1" fmla="*/ 9 h 39"/>
                  <a:gd name="T2" fmla="*/ 16 w 20"/>
                  <a:gd name="T3" fmla="*/ 12 h 39"/>
                  <a:gd name="T4" fmla="*/ 18 w 20"/>
                  <a:gd name="T5" fmla="*/ 14 h 39"/>
                  <a:gd name="T6" fmla="*/ 20 w 20"/>
                  <a:gd name="T7" fmla="*/ 11 h 39"/>
                  <a:gd name="T8" fmla="*/ 12 w 20"/>
                  <a:gd name="T9" fmla="*/ 5 h 39"/>
                  <a:gd name="T10" fmla="*/ 12 w 20"/>
                  <a:gd name="T11" fmla="*/ 2 h 39"/>
                  <a:gd name="T12" fmla="*/ 10 w 20"/>
                  <a:gd name="T13" fmla="*/ 0 h 39"/>
                  <a:gd name="T14" fmla="*/ 8 w 20"/>
                  <a:gd name="T15" fmla="*/ 2 h 39"/>
                  <a:gd name="T16" fmla="*/ 8 w 20"/>
                  <a:gd name="T17" fmla="*/ 5 h 39"/>
                  <a:gd name="T18" fmla="*/ 1 w 20"/>
                  <a:gd name="T19" fmla="*/ 12 h 39"/>
                  <a:gd name="T20" fmla="*/ 6 w 20"/>
                  <a:gd name="T21" fmla="*/ 19 h 39"/>
                  <a:gd name="T22" fmla="*/ 13 w 20"/>
                  <a:gd name="T23" fmla="*/ 21 h 39"/>
                  <a:gd name="T24" fmla="*/ 16 w 20"/>
                  <a:gd name="T25" fmla="*/ 25 h 39"/>
                  <a:gd name="T26" fmla="*/ 14 w 20"/>
                  <a:gd name="T27" fmla="*/ 28 h 39"/>
                  <a:gd name="T28" fmla="*/ 14 w 20"/>
                  <a:gd name="T29" fmla="*/ 28 h 39"/>
                  <a:gd name="T30" fmla="*/ 4 w 20"/>
                  <a:gd name="T31" fmla="*/ 26 h 39"/>
                  <a:gd name="T32" fmla="*/ 1 w 20"/>
                  <a:gd name="T33" fmla="*/ 26 h 39"/>
                  <a:gd name="T34" fmla="*/ 1 w 20"/>
                  <a:gd name="T35" fmla="*/ 29 h 39"/>
                  <a:gd name="T36" fmla="*/ 8 w 20"/>
                  <a:gd name="T37" fmla="*/ 33 h 39"/>
                  <a:gd name="T38" fmla="*/ 8 w 20"/>
                  <a:gd name="T39" fmla="*/ 37 h 39"/>
                  <a:gd name="T40" fmla="*/ 10 w 20"/>
                  <a:gd name="T41" fmla="*/ 39 h 39"/>
                  <a:gd name="T42" fmla="*/ 12 w 20"/>
                  <a:gd name="T43" fmla="*/ 37 h 39"/>
                  <a:gd name="T44" fmla="*/ 12 w 20"/>
                  <a:gd name="T45" fmla="*/ 33 h 39"/>
                  <a:gd name="T46" fmla="*/ 16 w 20"/>
                  <a:gd name="T47" fmla="*/ 32 h 39"/>
                  <a:gd name="T48" fmla="*/ 20 w 20"/>
                  <a:gd name="T49" fmla="*/ 24 h 39"/>
                  <a:gd name="T50" fmla="*/ 14 w 20"/>
                  <a:gd name="T51" fmla="*/ 17 h 39"/>
                  <a:gd name="T52" fmla="*/ 8 w 20"/>
                  <a:gd name="T53" fmla="*/ 15 h 39"/>
                  <a:gd name="T54" fmla="*/ 5 w 20"/>
                  <a:gd name="T55" fmla="*/ 12 h 39"/>
                  <a:gd name="T56" fmla="*/ 10 w 20"/>
                  <a:gd name="T57"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 h="39">
                    <a:moveTo>
                      <a:pt x="10" y="9"/>
                    </a:moveTo>
                    <a:cubicBezTo>
                      <a:pt x="15" y="9"/>
                      <a:pt x="16" y="12"/>
                      <a:pt x="16" y="12"/>
                    </a:cubicBezTo>
                    <a:cubicBezTo>
                      <a:pt x="16" y="13"/>
                      <a:pt x="17" y="14"/>
                      <a:pt x="18" y="14"/>
                    </a:cubicBezTo>
                    <a:cubicBezTo>
                      <a:pt x="20" y="13"/>
                      <a:pt x="20" y="12"/>
                      <a:pt x="20" y="11"/>
                    </a:cubicBezTo>
                    <a:cubicBezTo>
                      <a:pt x="19" y="9"/>
                      <a:pt x="17" y="6"/>
                      <a:pt x="12" y="5"/>
                    </a:cubicBezTo>
                    <a:cubicBezTo>
                      <a:pt x="12" y="2"/>
                      <a:pt x="12" y="2"/>
                      <a:pt x="12" y="2"/>
                    </a:cubicBezTo>
                    <a:cubicBezTo>
                      <a:pt x="12" y="0"/>
                      <a:pt x="12" y="0"/>
                      <a:pt x="10" y="0"/>
                    </a:cubicBezTo>
                    <a:cubicBezTo>
                      <a:pt x="9" y="0"/>
                      <a:pt x="8" y="0"/>
                      <a:pt x="8" y="2"/>
                    </a:cubicBezTo>
                    <a:cubicBezTo>
                      <a:pt x="8" y="5"/>
                      <a:pt x="8" y="5"/>
                      <a:pt x="8" y="5"/>
                    </a:cubicBezTo>
                    <a:cubicBezTo>
                      <a:pt x="1" y="6"/>
                      <a:pt x="1" y="10"/>
                      <a:pt x="1" y="12"/>
                    </a:cubicBezTo>
                    <a:cubicBezTo>
                      <a:pt x="1" y="15"/>
                      <a:pt x="2" y="18"/>
                      <a:pt x="6" y="19"/>
                    </a:cubicBezTo>
                    <a:cubicBezTo>
                      <a:pt x="10" y="20"/>
                      <a:pt x="13" y="21"/>
                      <a:pt x="13" y="21"/>
                    </a:cubicBezTo>
                    <a:cubicBezTo>
                      <a:pt x="13" y="21"/>
                      <a:pt x="16" y="22"/>
                      <a:pt x="16" y="25"/>
                    </a:cubicBezTo>
                    <a:cubicBezTo>
                      <a:pt x="16" y="27"/>
                      <a:pt x="14" y="28"/>
                      <a:pt x="14" y="28"/>
                    </a:cubicBezTo>
                    <a:cubicBezTo>
                      <a:pt x="14" y="28"/>
                      <a:pt x="14" y="28"/>
                      <a:pt x="14" y="28"/>
                    </a:cubicBezTo>
                    <a:cubicBezTo>
                      <a:pt x="13" y="29"/>
                      <a:pt x="8" y="31"/>
                      <a:pt x="4" y="26"/>
                    </a:cubicBezTo>
                    <a:cubicBezTo>
                      <a:pt x="3" y="25"/>
                      <a:pt x="2" y="25"/>
                      <a:pt x="1" y="26"/>
                    </a:cubicBezTo>
                    <a:cubicBezTo>
                      <a:pt x="0" y="27"/>
                      <a:pt x="0" y="28"/>
                      <a:pt x="1" y="29"/>
                    </a:cubicBezTo>
                    <a:cubicBezTo>
                      <a:pt x="3" y="32"/>
                      <a:pt x="6" y="33"/>
                      <a:pt x="8" y="33"/>
                    </a:cubicBezTo>
                    <a:cubicBezTo>
                      <a:pt x="8" y="37"/>
                      <a:pt x="8" y="37"/>
                      <a:pt x="8" y="37"/>
                    </a:cubicBezTo>
                    <a:cubicBezTo>
                      <a:pt x="8" y="38"/>
                      <a:pt x="9" y="39"/>
                      <a:pt x="10" y="39"/>
                    </a:cubicBezTo>
                    <a:cubicBezTo>
                      <a:pt x="12" y="39"/>
                      <a:pt x="12" y="38"/>
                      <a:pt x="12" y="37"/>
                    </a:cubicBezTo>
                    <a:cubicBezTo>
                      <a:pt x="12" y="33"/>
                      <a:pt x="12" y="33"/>
                      <a:pt x="12" y="33"/>
                    </a:cubicBezTo>
                    <a:cubicBezTo>
                      <a:pt x="14" y="33"/>
                      <a:pt x="15" y="32"/>
                      <a:pt x="16" y="32"/>
                    </a:cubicBezTo>
                    <a:cubicBezTo>
                      <a:pt x="17" y="31"/>
                      <a:pt x="20" y="29"/>
                      <a:pt x="20" y="24"/>
                    </a:cubicBezTo>
                    <a:cubicBezTo>
                      <a:pt x="19" y="19"/>
                      <a:pt x="14" y="17"/>
                      <a:pt x="14" y="17"/>
                    </a:cubicBezTo>
                    <a:cubicBezTo>
                      <a:pt x="14" y="17"/>
                      <a:pt x="11" y="16"/>
                      <a:pt x="8" y="15"/>
                    </a:cubicBezTo>
                    <a:cubicBezTo>
                      <a:pt x="5" y="15"/>
                      <a:pt x="5" y="13"/>
                      <a:pt x="5" y="12"/>
                    </a:cubicBezTo>
                    <a:cubicBezTo>
                      <a:pt x="5" y="10"/>
                      <a:pt x="7" y="9"/>
                      <a:pt x="10"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54">
                <a:extLst>
                  <a:ext uri="{FF2B5EF4-FFF2-40B4-BE49-F238E27FC236}">
                    <a16:creationId xmlns:a16="http://schemas.microsoft.com/office/drawing/2014/main" id="{CBB9D7C3-5958-9C6C-EA44-BFDBA8B986BF}"/>
                  </a:ext>
                </a:extLst>
              </p:cNvPr>
              <p:cNvSpPr>
                <a:spLocks noEditPoints="1"/>
              </p:cNvSpPr>
              <p:nvPr/>
            </p:nvSpPr>
            <p:spPr bwMode="auto">
              <a:xfrm>
                <a:off x="6542088" y="5246688"/>
                <a:ext cx="485775" cy="230188"/>
              </a:xfrm>
              <a:custGeom>
                <a:avLst/>
                <a:gdLst>
                  <a:gd name="T0" fmla="*/ 129 w 129"/>
                  <a:gd name="T1" fmla="*/ 59 h 61"/>
                  <a:gd name="T2" fmla="*/ 129 w 129"/>
                  <a:gd name="T3" fmla="*/ 2 h 61"/>
                  <a:gd name="T4" fmla="*/ 15 w 129"/>
                  <a:gd name="T5" fmla="*/ 0 h 61"/>
                  <a:gd name="T6" fmla="*/ 0 w 129"/>
                  <a:gd name="T7" fmla="*/ 15 h 61"/>
                  <a:gd name="T8" fmla="*/ 2 w 129"/>
                  <a:gd name="T9" fmla="*/ 61 h 61"/>
                  <a:gd name="T10" fmla="*/ 116 w 129"/>
                  <a:gd name="T11" fmla="*/ 57 h 61"/>
                  <a:gd name="T12" fmla="*/ 116 w 129"/>
                  <a:gd name="T13" fmla="*/ 55 h 61"/>
                  <a:gd name="T14" fmla="*/ 117 w 129"/>
                  <a:gd name="T15" fmla="*/ 52 h 61"/>
                  <a:gd name="T16" fmla="*/ 120 w 129"/>
                  <a:gd name="T17" fmla="*/ 49 h 61"/>
                  <a:gd name="T18" fmla="*/ 123 w 129"/>
                  <a:gd name="T19" fmla="*/ 48 h 61"/>
                  <a:gd name="T20" fmla="*/ 125 w 129"/>
                  <a:gd name="T21" fmla="*/ 47 h 61"/>
                  <a:gd name="T22" fmla="*/ 125 w 129"/>
                  <a:gd name="T23" fmla="*/ 12 h 61"/>
                  <a:gd name="T24" fmla="*/ 123 w 129"/>
                  <a:gd name="T25" fmla="*/ 12 h 61"/>
                  <a:gd name="T26" fmla="*/ 120 w 129"/>
                  <a:gd name="T27" fmla="*/ 11 h 61"/>
                  <a:gd name="T28" fmla="*/ 118 w 129"/>
                  <a:gd name="T29" fmla="*/ 8 h 61"/>
                  <a:gd name="T30" fmla="*/ 116 w 129"/>
                  <a:gd name="T31" fmla="*/ 6 h 61"/>
                  <a:gd name="T32" fmla="*/ 116 w 129"/>
                  <a:gd name="T33" fmla="*/ 3 h 61"/>
                  <a:gd name="T34" fmla="*/ 112 w 129"/>
                  <a:gd name="T35" fmla="*/ 3 h 61"/>
                  <a:gd name="T36" fmla="*/ 113 w 129"/>
                  <a:gd name="T37" fmla="*/ 7 h 61"/>
                  <a:gd name="T38" fmla="*/ 114 w 129"/>
                  <a:gd name="T39" fmla="*/ 10 h 61"/>
                  <a:gd name="T40" fmla="*/ 118 w 129"/>
                  <a:gd name="T41" fmla="*/ 14 h 61"/>
                  <a:gd name="T42" fmla="*/ 121 w 129"/>
                  <a:gd name="T43" fmla="*/ 16 h 61"/>
                  <a:gd name="T44" fmla="*/ 125 w 129"/>
                  <a:gd name="T45" fmla="*/ 16 h 61"/>
                  <a:gd name="T46" fmla="*/ 123 w 129"/>
                  <a:gd name="T47" fmla="*/ 44 h 61"/>
                  <a:gd name="T48" fmla="*/ 119 w 129"/>
                  <a:gd name="T49" fmla="*/ 46 h 61"/>
                  <a:gd name="T50" fmla="*/ 116 w 129"/>
                  <a:gd name="T51" fmla="*/ 48 h 61"/>
                  <a:gd name="T52" fmla="*/ 113 w 129"/>
                  <a:gd name="T53" fmla="*/ 52 h 61"/>
                  <a:gd name="T54" fmla="*/ 112 w 129"/>
                  <a:gd name="T55" fmla="*/ 56 h 61"/>
                  <a:gd name="T56" fmla="*/ 95 w 129"/>
                  <a:gd name="T57" fmla="*/ 30 h 61"/>
                  <a:gd name="T58" fmla="*/ 64 w 129"/>
                  <a:gd name="T59" fmla="*/ 57 h 61"/>
                  <a:gd name="T60" fmla="*/ 91 w 129"/>
                  <a:gd name="T61" fmla="*/ 30 h 61"/>
                  <a:gd name="T62" fmla="*/ 49 w 129"/>
                  <a:gd name="T63" fmla="*/ 57 h 61"/>
                  <a:gd name="T64" fmla="*/ 16 w 129"/>
                  <a:gd name="T65" fmla="*/ 55 h 61"/>
                  <a:gd name="T66" fmla="*/ 15 w 129"/>
                  <a:gd name="T67" fmla="*/ 51 h 61"/>
                  <a:gd name="T68" fmla="*/ 12 w 129"/>
                  <a:gd name="T69" fmla="*/ 48 h 61"/>
                  <a:gd name="T70" fmla="*/ 8 w 129"/>
                  <a:gd name="T71" fmla="*/ 45 h 61"/>
                  <a:gd name="T72" fmla="*/ 4 w 129"/>
                  <a:gd name="T73" fmla="*/ 44 h 61"/>
                  <a:gd name="T74" fmla="*/ 4 w 129"/>
                  <a:gd name="T75" fmla="*/ 16 h 61"/>
                  <a:gd name="T76" fmla="*/ 8 w 129"/>
                  <a:gd name="T77" fmla="*/ 15 h 61"/>
                  <a:gd name="T78" fmla="*/ 14 w 129"/>
                  <a:gd name="T79" fmla="*/ 10 h 61"/>
                  <a:gd name="T80" fmla="*/ 16 w 129"/>
                  <a:gd name="T81" fmla="*/ 7 h 61"/>
                  <a:gd name="T82" fmla="*/ 17 w 129"/>
                  <a:gd name="T83" fmla="*/ 3 h 61"/>
                  <a:gd name="T84" fmla="*/ 13 w 129"/>
                  <a:gd name="T85" fmla="*/ 3 h 61"/>
                  <a:gd name="T86" fmla="*/ 12 w 129"/>
                  <a:gd name="T87" fmla="*/ 5 h 61"/>
                  <a:gd name="T88" fmla="*/ 11 w 129"/>
                  <a:gd name="T89" fmla="*/ 8 h 61"/>
                  <a:gd name="T90" fmla="*/ 8 w 129"/>
                  <a:gd name="T91" fmla="*/ 11 h 61"/>
                  <a:gd name="T92" fmla="*/ 6 w 129"/>
                  <a:gd name="T93" fmla="*/ 12 h 61"/>
                  <a:gd name="T94" fmla="*/ 4 w 129"/>
                  <a:gd name="T95" fmla="*/ 12 h 61"/>
                  <a:gd name="T96" fmla="*/ 4 w 129"/>
                  <a:gd name="T97" fmla="*/ 47 h 61"/>
                  <a:gd name="T98" fmla="*/ 6 w 129"/>
                  <a:gd name="T99" fmla="*/ 48 h 61"/>
                  <a:gd name="T100" fmla="*/ 8 w 129"/>
                  <a:gd name="T101" fmla="*/ 49 h 61"/>
                  <a:gd name="T102" fmla="*/ 11 w 129"/>
                  <a:gd name="T103" fmla="*/ 52 h 61"/>
                  <a:gd name="T104" fmla="*/ 12 w 129"/>
                  <a:gd name="T105" fmla="*/ 55 h 61"/>
                  <a:gd name="T106" fmla="*/ 13 w 129"/>
                  <a:gd name="T107" fmla="*/ 57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9" h="61">
                    <a:moveTo>
                      <a:pt x="113" y="61"/>
                    </a:moveTo>
                    <a:cubicBezTo>
                      <a:pt x="127" y="61"/>
                      <a:pt x="127" y="61"/>
                      <a:pt x="127" y="61"/>
                    </a:cubicBezTo>
                    <a:cubicBezTo>
                      <a:pt x="128" y="61"/>
                      <a:pt x="129" y="60"/>
                      <a:pt x="129" y="59"/>
                    </a:cubicBezTo>
                    <a:cubicBezTo>
                      <a:pt x="129" y="45"/>
                      <a:pt x="129" y="45"/>
                      <a:pt x="129" y="45"/>
                    </a:cubicBezTo>
                    <a:cubicBezTo>
                      <a:pt x="129" y="15"/>
                      <a:pt x="129" y="15"/>
                      <a:pt x="129" y="15"/>
                    </a:cubicBezTo>
                    <a:cubicBezTo>
                      <a:pt x="129" y="2"/>
                      <a:pt x="129" y="2"/>
                      <a:pt x="129" y="2"/>
                    </a:cubicBezTo>
                    <a:cubicBezTo>
                      <a:pt x="129" y="0"/>
                      <a:pt x="128" y="0"/>
                      <a:pt x="127" y="0"/>
                    </a:cubicBezTo>
                    <a:cubicBezTo>
                      <a:pt x="113" y="0"/>
                      <a:pt x="113" y="0"/>
                      <a:pt x="113" y="0"/>
                    </a:cubicBezTo>
                    <a:cubicBezTo>
                      <a:pt x="15" y="0"/>
                      <a:pt x="15" y="0"/>
                      <a:pt x="15" y="0"/>
                    </a:cubicBezTo>
                    <a:cubicBezTo>
                      <a:pt x="2" y="0"/>
                      <a:pt x="2" y="0"/>
                      <a:pt x="2" y="0"/>
                    </a:cubicBezTo>
                    <a:cubicBezTo>
                      <a:pt x="1" y="0"/>
                      <a:pt x="0" y="0"/>
                      <a:pt x="0" y="2"/>
                    </a:cubicBezTo>
                    <a:cubicBezTo>
                      <a:pt x="0" y="15"/>
                      <a:pt x="0" y="15"/>
                      <a:pt x="0" y="15"/>
                    </a:cubicBezTo>
                    <a:cubicBezTo>
                      <a:pt x="0" y="45"/>
                      <a:pt x="0" y="45"/>
                      <a:pt x="0" y="45"/>
                    </a:cubicBezTo>
                    <a:cubicBezTo>
                      <a:pt x="0" y="59"/>
                      <a:pt x="0" y="59"/>
                      <a:pt x="0" y="59"/>
                    </a:cubicBezTo>
                    <a:cubicBezTo>
                      <a:pt x="0" y="60"/>
                      <a:pt x="1" y="61"/>
                      <a:pt x="2" y="61"/>
                    </a:cubicBezTo>
                    <a:cubicBezTo>
                      <a:pt x="15" y="61"/>
                      <a:pt x="15" y="61"/>
                      <a:pt x="15" y="61"/>
                    </a:cubicBezTo>
                    <a:lnTo>
                      <a:pt x="113" y="61"/>
                    </a:lnTo>
                    <a:close/>
                    <a:moveTo>
                      <a:pt x="116" y="57"/>
                    </a:moveTo>
                    <a:cubicBezTo>
                      <a:pt x="116" y="57"/>
                      <a:pt x="116" y="57"/>
                      <a:pt x="116" y="57"/>
                    </a:cubicBezTo>
                    <a:cubicBezTo>
                      <a:pt x="116" y="56"/>
                      <a:pt x="116" y="56"/>
                      <a:pt x="116" y="56"/>
                    </a:cubicBezTo>
                    <a:cubicBezTo>
                      <a:pt x="116" y="56"/>
                      <a:pt x="116" y="55"/>
                      <a:pt x="116" y="55"/>
                    </a:cubicBezTo>
                    <a:cubicBezTo>
                      <a:pt x="116" y="54"/>
                      <a:pt x="116" y="54"/>
                      <a:pt x="116" y="54"/>
                    </a:cubicBezTo>
                    <a:cubicBezTo>
                      <a:pt x="117" y="54"/>
                      <a:pt x="117" y="53"/>
                      <a:pt x="117" y="53"/>
                    </a:cubicBezTo>
                    <a:cubicBezTo>
                      <a:pt x="117" y="53"/>
                      <a:pt x="117" y="52"/>
                      <a:pt x="117" y="52"/>
                    </a:cubicBezTo>
                    <a:cubicBezTo>
                      <a:pt x="118" y="52"/>
                      <a:pt x="118" y="51"/>
                      <a:pt x="119" y="51"/>
                    </a:cubicBezTo>
                    <a:cubicBezTo>
                      <a:pt x="119" y="51"/>
                      <a:pt x="119" y="51"/>
                      <a:pt x="119" y="51"/>
                    </a:cubicBezTo>
                    <a:cubicBezTo>
                      <a:pt x="119" y="50"/>
                      <a:pt x="120" y="50"/>
                      <a:pt x="120" y="49"/>
                    </a:cubicBezTo>
                    <a:cubicBezTo>
                      <a:pt x="120" y="49"/>
                      <a:pt x="121" y="49"/>
                      <a:pt x="121" y="49"/>
                    </a:cubicBezTo>
                    <a:cubicBezTo>
                      <a:pt x="121" y="49"/>
                      <a:pt x="122" y="48"/>
                      <a:pt x="122" y="48"/>
                    </a:cubicBezTo>
                    <a:cubicBezTo>
                      <a:pt x="122" y="48"/>
                      <a:pt x="122" y="48"/>
                      <a:pt x="123" y="48"/>
                    </a:cubicBezTo>
                    <a:cubicBezTo>
                      <a:pt x="123" y="48"/>
                      <a:pt x="124" y="48"/>
                      <a:pt x="124" y="48"/>
                    </a:cubicBezTo>
                    <a:cubicBezTo>
                      <a:pt x="124" y="47"/>
                      <a:pt x="124" y="47"/>
                      <a:pt x="125" y="47"/>
                    </a:cubicBezTo>
                    <a:cubicBezTo>
                      <a:pt x="125" y="47"/>
                      <a:pt x="125" y="47"/>
                      <a:pt x="125" y="47"/>
                    </a:cubicBezTo>
                    <a:cubicBezTo>
                      <a:pt x="125" y="57"/>
                      <a:pt x="125" y="57"/>
                      <a:pt x="125" y="57"/>
                    </a:cubicBezTo>
                    <a:lnTo>
                      <a:pt x="116" y="57"/>
                    </a:lnTo>
                    <a:close/>
                    <a:moveTo>
                      <a:pt x="125" y="12"/>
                    </a:moveTo>
                    <a:cubicBezTo>
                      <a:pt x="125" y="12"/>
                      <a:pt x="125" y="12"/>
                      <a:pt x="125" y="12"/>
                    </a:cubicBezTo>
                    <a:cubicBezTo>
                      <a:pt x="125" y="12"/>
                      <a:pt x="124" y="12"/>
                      <a:pt x="124" y="12"/>
                    </a:cubicBezTo>
                    <a:cubicBezTo>
                      <a:pt x="124" y="12"/>
                      <a:pt x="123" y="12"/>
                      <a:pt x="123" y="12"/>
                    </a:cubicBezTo>
                    <a:cubicBezTo>
                      <a:pt x="123" y="12"/>
                      <a:pt x="122" y="12"/>
                      <a:pt x="122" y="12"/>
                    </a:cubicBezTo>
                    <a:cubicBezTo>
                      <a:pt x="122" y="11"/>
                      <a:pt x="121" y="11"/>
                      <a:pt x="121" y="11"/>
                    </a:cubicBezTo>
                    <a:cubicBezTo>
                      <a:pt x="121" y="11"/>
                      <a:pt x="121" y="11"/>
                      <a:pt x="120" y="11"/>
                    </a:cubicBezTo>
                    <a:cubicBezTo>
                      <a:pt x="120" y="10"/>
                      <a:pt x="119" y="10"/>
                      <a:pt x="119" y="9"/>
                    </a:cubicBezTo>
                    <a:cubicBezTo>
                      <a:pt x="119" y="9"/>
                      <a:pt x="119" y="9"/>
                      <a:pt x="119" y="9"/>
                    </a:cubicBezTo>
                    <a:cubicBezTo>
                      <a:pt x="118" y="9"/>
                      <a:pt x="118" y="8"/>
                      <a:pt x="118" y="8"/>
                    </a:cubicBezTo>
                    <a:cubicBezTo>
                      <a:pt x="117" y="8"/>
                      <a:pt x="117" y="8"/>
                      <a:pt x="117" y="7"/>
                    </a:cubicBezTo>
                    <a:cubicBezTo>
                      <a:pt x="117" y="7"/>
                      <a:pt x="117" y="7"/>
                      <a:pt x="117" y="6"/>
                    </a:cubicBezTo>
                    <a:cubicBezTo>
                      <a:pt x="116" y="6"/>
                      <a:pt x="116" y="6"/>
                      <a:pt x="116" y="6"/>
                    </a:cubicBezTo>
                    <a:cubicBezTo>
                      <a:pt x="116" y="5"/>
                      <a:pt x="116" y="5"/>
                      <a:pt x="116" y="4"/>
                    </a:cubicBezTo>
                    <a:cubicBezTo>
                      <a:pt x="116" y="4"/>
                      <a:pt x="116" y="4"/>
                      <a:pt x="116" y="4"/>
                    </a:cubicBezTo>
                    <a:cubicBezTo>
                      <a:pt x="116" y="4"/>
                      <a:pt x="116" y="4"/>
                      <a:pt x="116" y="3"/>
                    </a:cubicBezTo>
                    <a:cubicBezTo>
                      <a:pt x="125" y="3"/>
                      <a:pt x="125" y="3"/>
                      <a:pt x="125" y="3"/>
                    </a:cubicBezTo>
                    <a:lnTo>
                      <a:pt x="125" y="12"/>
                    </a:lnTo>
                    <a:close/>
                    <a:moveTo>
                      <a:pt x="112" y="3"/>
                    </a:moveTo>
                    <a:cubicBezTo>
                      <a:pt x="112" y="4"/>
                      <a:pt x="112" y="4"/>
                      <a:pt x="112" y="4"/>
                    </a:cubicBezTo>
                    <a:cubicBezTo>
                      <a:pt x="112" y="4"/>
                      <a:pt x="112" y="5"/>
                      <a:pt x="112" y="5"/>
                    </a:cubicBezTo>
                    <a:cubicBezTo>
                      <a:pt x="112" y="6"/>
                      <a:pt x="112" y="6"/>
                      <a:pt x="113" y="7"/>
                    </a:cubicBezTo>
                    <a:cubicBezTo>
                      <a:pt x="113" y="7"/>
                      <a:pt x="113" y="7"/>
                      <a:pt x="113" y="8"/>
                    </a:cubicBezTo>
                    <a:cubicBezTo>
                      <a:pt x="113" y="8"/>
                      <a:pt x="114" y="9"/>
                      <a:pt x="114" y="9"/>
                    </a:cubicBezTo>
                    <a:cubicBezTo>
                      <a:pt x="114" y="10"/>
                      <a:pt x="114" y="10"/>
                      <a:pt x="114" y="10"/>
                    </a:cubicBezTo>
                    <a:cubicBezTo>
                      <a:pt x="115" y="11"/>
                      <a:pt x="115" y="12"/>
                      <a:pt x="116" y="12"/>
                    </a:cubicBezTo>
                    <a:cubicBezTo>
                      <a:pt x="116" y="12"/>
                      <a:pt x="116" y="12"/>
                      <a:pt x="116" y="12"/>
                    </a:cubicBezTo>
                    <a:cubicBezTo>
                      <a:pt x="117" y="13"/>
                      <a:pt x="117" y="13"/>
                      <a:pt x="118" y="14"/>
                    </a:cubicBezTo>
                    <a:cubicBezTo>
                      <a:pt x="118" y="14"/>
                      <a:pt x="119" y="14"/>
                      <a:pt x="119" y="14"/>
                    </a:cubicBezTo>
                    <a:cubicBezTo>
                      <a:pt x="119" y="15"/>
                      <a:pt x="120" y="15"/>
                      <a:pt x="121" y="15"/>
                    </a:cubicBezTo>
                    <a:cubicBezTo>
                      <a:pt x="121" y="15"/>
                      <a:pt x="121" y="15"/>
                      <a:pt x="121" y="16"/>
                    </a:cubicBezTo>
                    <a:cubicBezTo>
                      <a:pt x="122" y="16"/>
                      <a:pt x="123" y="16"/>
                      <a:pt x="123" y="16"/>
                    </a:cubicBezTo>
                    <a:cubicBezTo>
                      <a:pt x="124" y="16"/>
                      <a:pt x="124" y="16"/>
                      <a:pt x="124" y="16"/>
                    </a:cubicBezTo>
                    <a:cubicBezTo>
                      <a:pt x="124" y="16"/>
                      <a:pt x="125" y="16"/>
                      <a:pt x="125" y="16"/>
                    </a:cubicBezTo>
                    <a:cubicBezTo>
                      <a:pt x="125" y="43"/>
                      <a:pt x="125" y="43"/>
                      <a:pt x="125" y="43"/>
                    </a:cubicBezTo>
                    <a:cubicBezTo>
                      <a:pt x="125" y="43"/>
                      <a:pt x="124" y="43"/>
                      <a:pt x="124" y="43"/>
                    </a:cubicBezTo>
                    <a:cubicBezTo>
                      <a:pt x="124" y="44"/>
                      <a:pt x="123" y="44"/>
                      <a:pt x="123" y="44"/>
                    </a:cubicBezTo>
                    <a:cubicBezTo>
                      <a:pt x="123" y="44"/>
                      <a:pt x="122" y="44"/>
                      <a:pt x="121" y="44"/>
                    </a:cubicBezTo>
                    <a:cubicBezTo>
                      <a:pt x="121" y="44"/>
                      <a:pt x="121" y="45"/>
                      <a:pt x="120" y="45"/>
                    </a:cubicBezTo>
                    <a:cubicBezTo>
                      <a:pt x="120" y="45"/>
                      <a:pt x="119" y="45"/>
                      <a:pt x="119" y="46"/>
                    </a:cubicBezTo>
                    <a:cubicBezTo>
                      <a:pt x="119" y="46"/>
                      <a:pt x="118" y="46"/>
                      <a:pt x="118" y="46"/>
                    </a:cubicBezTo>
                    <a:cubicBezTo>
                      <a:pt x="117" y="47"/>
                      <a:pt x="117" y="47"/>
                      <a:pt x="116" y="48"/>
                    </a:cubicBezTo>
                    <a:cubicBezTo>
                      <a:pt x="116" y="48"/>
                      <a:pt x="116" y="48"/>
                      <a:pt x="116" y="48"/>
                    </a:cubicBezTo>
                    <a:cubicBezTo>
                      <a:pt x="115" y="48"/>
                      <a:pt x="115" y="49"/>
                      <a:pt x="114" y="50"/>
                    </a:cubicBezTo>
                    <a:cubicBezTo>
                      <a:pt x="114" y="50"/>
                      <a:pt x="114" y="50"/>
                      <a:pt x="114" y="51"/>
                    </a:cubicBezTo>
                    <a:cubicBezTo>
                      <a:pt x="113" y="51"/>
                      <a:pt x="113" y="52"/>
                      <a:pt x="113" y="52"/>
                    </a:cubicBezTo>
                    <a:cubicBezTo>
                      <a:pt x="113" y="53"/>
                      <a:pt x="113" y="53"/>
                      <a:pt x="112" y="53"/>
                    </a:cubicBezTo>
                    <a:cubicBezTo>
                      <a:pt x="112" y="54"/>
                      <a:pt x="112" y="54"/>
                      <a:pt x="112" y="55"/>
                    </a:cubicBezTo>
                    <a:cubicBezTo>
                      <a:pt x="112" y="55"/>
                      <a:pt x="112" y="56"/>
                      <a:pt x="112" y="56"/>
                    </a:cubicBezTo>
                    <a:cubicBezTo>
                      <a:pt x="112" y="56"/>
                      <a:pt x="112" y="57"/>
                      <a:pt x="112" y="57"/>
                    </a:cubicBezTo>
                    <a:cubicBezTo>
                      <a:pt x="79" y="57"/>
                      <a:pt x="79" y="57"/>
                      <a:pt x="79" y="57"/>
                    </a:cubicBezTo>
                    <a:cubicBezTo>
                      <a:pt x="89" y="52"/>
                      <a:pt x="95" y="42"/>
                      <a:pt x="95" y="30"/>
                    </a:cubicBezTo>
                    <a:cubicBezTo>
                      <a:pt x="95" y="19"/>
                      <a:pt x="89" y="9"/>
                      <a:pt x="79" y="3"/>
                    </a:cubicBezTo>
                    <a:lnTo>
                      <a:pt x="112" y="3"/>
                    </a:lnTo>
                    <a:close/>
                    <a:moveTo>
                      <a:pt x="64" y="57"/>
                    </a:moveTo>
                    <a:cubicBezTo>
                      <a:pt x="50" y="57"/>
                      <a:pt x="38" y="45"/>
                      <a:pt x="38" y="30"/>
                    </a:cubicBezTo>
                    <a:cubicBezTo>
                      <a:pt x="38" y="15"/>
                      <a:pt x="50" y="3"/>
                      <a:pt x="64" y="3"/>
                    </a:cubicBezTo>
                    <a:cubicBezTo>
                      <a:pt x="79" y="3"/>
                      <a:pt x="91" y="15"/>
                      <a:pt x="91" y="30"/>
                    </a:cubicBezTo>
                    <a:cubicBezTo>
                      <a:pt x="91" y="45"/>
                      <a:pt x="79" y="57"/>
                      <a:pt x="64" y="57"/>
                    </a:cubicBezTo>
                    <a:close/>
                    <a:moveTo>
                      <a:pt x="34" y="30"/>
                    </a:moveTo>
                    <a:cubicBezTo>
                      <a:pt x="34" y="42"/>
                      <a:pt x="40" y="52"/>
                      <a:pt x="49" y="57"/>
                    </a:cubicBezTo>
                    <a:cubicBezTo>
                      <a:pt x="17" y="57"/>
                      <a:pt x="17" y="57"/>
                      <a:pt x="17" y="57"/>
                    </a:cubicBezTo>
                    <a:cubicBezTo>
                      <a:pt x="17" y="57"/>
                      <a:pt x="17" y="56"/>
                      <a:pt x="17" y="56"/>
                    </a:cubicBezTo>
                    <a:cubicBezTo>
                      <a:pt x="17" y="56"/>
                      <a:pt x="16" y="55"/>
                      <a:pt x="16" y="55"/>
                    </a:cubicBezTo>
                    <a:cubicBezTo>
                      <a:pt x="16" y="54"/>
                      <a:pt x="16" y="54"/>
                      <a:pt x="16" y="53"/>
                    </a:cubicBezTo>
                    <a:cubicBezTo>
                      <a:pt x="16" y="53"/>
                      <a:pt x="16" y="53"/>
                      <a:pt x="15" y="52"/>
                    </a:cubicBezTo>
                    <a:cubicBezTo>
                      <a:pt x="15" y="52"/>
                      <a:pt x="15" y="51"/>
                      <a:pt x="15" y="51"/>
                    </a:cubicBezTo>
                    <a:cubicBezTo>
                      <a:pt x="14" y="51"/>
                      <a:pt x="14" y="50"/>
                      <a:pt x="14" y="50"/>
                    </a:cubicBezTo>
                    <a:cubicBezTo>
                      <a:pt x="14" y="49"/>
                      <a:pt x="13" y="49"/>
                      <a:pt x="12" y="48"/>
                    </a:cubicBezTo>
                    <a:cubicBezTo>
                      <a:pt x="12" y="48"/>
                      <a:pt x="12" y="48"/>
                      <a:pt x="12" y="48"/>
                    </a:cubicBezTo>
                    <a:cubicBezTo>
                      <a:pt x="12" y="47"/>
                      <a:pt x="11" y="47"/>
                      <a:pt x="10" y="46"/>
                    </a:cubicBezTo>
                    <a:cubicBezTo>
                      <a:pt x="10" y="46"/>
                      <a:pt x="10" y="46"/>
                      <a:pt x="10" y="46"/>
                    </a:cubicBezTo>
                    <a:cubicBezTo>
                      <a:pt x="9" y="45"/>
                      <a:pt x="9" y="45"/>
                      <a:pt x="8" y="45"/>
                    </a:cubicBezTo>
                    <a:cubicBezTo>
                      <a:pt x="8" y="45"/>
                      <a:pt x="7" y="44"/>
                      <a:pt x="7" y="44"/>
                    </a:cubicBezTo>
                    <a:cubicBezTo>
                      <a:pt x="7" y="44"/>
                      <a:pt x="6" y="44"/>
                      <a:pt x="5" y="44"/>
                    </a:cubicBezTo>
                    <a:cubicBezTo>
                      <a:pt x="5" y="44"/>
                      <a:pt x="5" y="44"/>
                      <a:pt x="4" y="44"/>
                    </a:cubicBezTo>
                    <a:cubicBezTo>
                      <a:pt x="4" y="43"/>
                      <a:pt x="4" y="43"/>
                      <a:pt x="4" y="43"/>
                    </a:cubicBezTo>
                    <a:cubicBezTo>
                      <a:pt x="4" y="16"/>
                      <a:pt x="4" y="16"/>
                      <a:pt x="4" y="16"/>
                    </a:cubicBezTo>
                    <a:cubicBezTo>
                      <a:pt x="4" y="16"/>
                      <a:pt x="4" y="16"/>
                      <a:pt x="4" y="16"/>
                    </a:cubicBezTo>
                    <a:cubicBezTo>
                      <a:pt x="5" y="16"/>
                      <a:pt x="5" y="16"/>
                      <a:pt x="5" y="16"/>
                    </a:cubicBezTo>
                    <a:cubicBezTo>
                      <a:pt x="6" y="16"/>
                      <a:pt x="6" y="16"/>
                      <a:pt x="7" y="16"/>
                    </a:cubicBezTo>
                    <a:cubicBezTo>
                      <a:pt x="7" y="15"/>
                      <a:pt x="8" y="15"/>
                      <a:pt x="8" y="15"/>
                    </a:cubicBezTo>
                    <a:cubicBezTo>
                      <a:pt x="8" y="15"/>
                      <a:pt x="9" y="15"/>
                      <a:pt x="9" y="14"/>
                    </a:cubicBezTo>
                    <a:cubicBezTo>
                      <a:pt x="10" y="14"/>
                      <a:pt x="10" y="14"/>
                      <a:pt x="10" y="14"/>
                    </a:cubicBezTo>
                    <a:cubicBezTo>
                      <a:pt x="12" y="13"/>
                      <a:pt x="13" y="11"/>
                      <a:pt x="14" y="10"/>
                    </a:cubicBezTo>
                    <a:cubicBezTo>
                      <a:pt x="14" y="10"/>
                      <a:pt x="14" y="10"/>
                      <a:pt x="14" y="9"/>
                    </a:cubicBezTo>
                    <a:cubicBezTo>
                      <a:pt x="15" y="9"/>
                      <a:pt x="15" y="8"/>
                      <a:pt x="15" y="8"/>
                    </a:cubicBezTo>
                    <a:cubicBezTo>
                      <a:pt x="15" y="7"/>
                      <a:pt x="16" y="7"/>
                      <a:pt x="16" y="7"/>
                    </a:cubicBezTo>
                    <a:cubicBezTo>
                      <a:pt x="16" y="6"/>
                      <a:pt x="16" y="6"/>
                      <a:pt x="16" y="5"/>
                    </a:cubicBezTo>
                    <a:cubicBezTo>
                      <a:pt x="16" y="5"/>
                      <a:pt x="16" y="4"/>
                      <a:pt x="16" y="4"/>
                    </a:cubicBezTo>
                    <a:cubicBezTo>
                      <a:pt x="17" y="4"/>
                      <a:pt x="17" y="4"/>
                      <a:pt x="17" y="3"/>
                    </a:cubicBezTo>
                    <a:cubicBezTo>
                      <a:pt x="49" y="3"/>
                      <a:pt x="49" y="3"/>
                      <a:pt x="49" y="3"/>
                    </a:cubicBezTo>
                    <a:cubicBezTo>
                      <a:pt x="40" y="9"/>
                      <a:pt x="34" y="19"/>
                      <a:pt x="34" y="30"/>
                    </a:cubicBezTo>
                    <a:close/>
                    <a:moveTo>
                      <a:pt x="13" y="3"/>
                    </a:moveTo>
                    <a:cubicBezTo>
                      <a:pt x="13" y="4"/>
                      <a:pt x="13" y="4"/>
                      <a:pt x="13" y="4"/>
                    </a:cubicBezTo>
                    <a:cubicBezTo>
                      <a:pt x="13" y="4"/>
                      <a:pt x="12" y="4"/>
                      <a:pt x="12" y="4"/>
                    </a:cubicBezTo>
                    <a:cubicBezTo>
                      <a:pt x="12" y="5"/>
                      <a:pt x="12" y="5"/>
                      <a:pt x="12" y="5"/>
                    </a:cubicBezTo>
                    <a:cubicBezTo>
                      <a:pt x="12" y="6"/>
                      <a:pt x="12" y="6"/>
                      <a:pt x="12" y="6"/>
                    </a:cubicBezTo>
                    <a:cubicBezTo>
                      <a:pt x="11" y="6"/>
                      <a:pt x="11" y="7"/>
                      <a:pt x="11" y="7"/>
                    </a:cubicBezTo>
                    <a:cubicBezTo>
                      <a:pt x="11" y="7"/>
                      <a:pt x="11" y="8"/>
                      <a:pt x="11" y="8"/>
                    </a:cubicBezTo>
                    <a:cubicBezTo>
                      <a:pt x="10" y="8"/>
                      <a:pt x="10" y="9"/>
                      <a:pt x="9" y="9"/>
                    </a:cubicBezTo>
                    <a:cubicBezTo>
                      <a:pt x="9" y="9"/>
                      <a:pt x="9" y="9"/>
                      <a:pt x="9" y="9"/>
                    </a:cubicBezTo>
                    <a:cubicBezTo>
                      <a:pt x="9" y="10"/>
                      <a:pt x="8" y="10"/>
                      <a:pt x="8" y="11"/>
                    </a:cubicBezTo>
                    <a:cubicBezTo>
                      <a:pt x="8" y="11"/>
                      <a:pt x="8" y="11"/>
                      <a:pt x="7" y="11"/>
                    </a:cubicBezTo>
                    <a:cubicBezTo>
                      <a:pt x="7" y="11"/>
                      <a:pt x="7" y="11"/>
                      <a:pt x="6" y="12"/>
                    </a:cubicBezTo>
                    <a:cubicBezTo>
                      <a:pt x="6" y="12"/>
                      <a:pt x="6" y="12"/>
                      <a:pt x="6" y="12"/>
                    </a:cubicBezTo>
                    <a:cubicBezTo>
                      <a:pt x="5" y="12"/>
                      <a:pt x="5" y="12"/>
                      <a:pt x="4" y="12"/>
                    </a:cubicBezTo>
                    <a:cubicBezTo>
                      <a:pt x="4" y="12"/>
                      <a:pt x="4" y="12"/>
                      <a:pt x="4" y="12"/>
                    </a:cubicBezTo>
                    <a:cubicBezTo>
                      <a:pt x="4" y="12"/>
                      <a:pt x="4" y="12"/>
                      <a:pt x="4" y="12"/>
                    </a:cubicBezTo>
                    <a:cubicBezTo>
                      <a:pt x="4" y="3"/>
                      <a:pt x="4" y="3"/>
                      <a:pt x="4" y="3"/>
                    </a:cubicBezTo>
                    <a:lnTo>
                      <a:pt x="13" y="3"/>
                    </a:lnTo>
                    <a:close/>
                    <a:moveTo>
                      <a:pt x="4" y="47"/>
                    </a:moveTo>
                    <a:cubicBezTo>
                      <a:pt x="4" y="47"/>
                      <a:pt x="4" y="47"/>
                      <a:pt x="4" y="47"/>
                    </a:cubicBezTo>
                    <a:cubicBezTo>
                      <a:pt x="4" y="47"/>
                      <a:pt x="4" y="48"/>
                      <a:pt x="4" y="48"/>
                    </a:cubicBezTo>
                    <a:cubicBezTo>
                      <a:pt x="5" y="48"/>
                      <a:pt x="5" y="48"/>
                      <a:pt x="6" y="48"/>
                    </a:cubicBezTo>
                    <a:cubicBezTo>
                      <a:pt x="6" y="48"/>
                      <a:pt x="6" y="48"/>
                      <a:pt x="6" y="48"/>
                    </a:cubicBezTo>
                    <a:cubicBezTo>
                      <a:pt x="7" y="49"/>
                      <a:pt x="7" y="49"/>
                      <a:pt x="8" y="49"/>
                    </a:cubicBezTo>
                    <a:cubicBezTo>
                      <a:pt x="8" y="49"/>
                      <a:pt x="8" y="49"/>
                      <a:pt x="8" y="49"/>
                    </a:cubicBezTo>
                    <a:cubicBezTo>
                      <a:pt x="9" y="50"/>
                      <a:pt x="9" y="50"/>
                      <a:pt x="9" y="50"/>
                    </a:cubicBezTo>
                    <a:cubicBezTo>
                      <a:pt x="9" y="51"/>
                      <a:pt x="10" y="51"/>
                      <a:pt x="10" y="51"/>
                    </a:cubicBezTo>
                    <a:cubicBezTo>
                      <a:pt x="10" y="51"/>
                      <a:pt x="10" y="52"/>
                      <a:pt x="11" y="52"/>
                    </a:cubicBezTo>
                    <a:cubicBezTo>
                      <a:pt x="11" y="52"/>
                      <a:pt x="11" y="53"/>
                      <a:pt x="11" y="53"/>
                    </a:cubicBezTo>
                    <a:cubicBezTo>
                      <a:pt x="11" y="53"/>
                      <a:pt x="12" y="53"/>
                      <a:pt x="12" y="54"/>
                    </a:cubicBezTo>
                    <a:cubicBezTo>
                      <a:pt x="12" y="54"/>
                      <a:pt x="12" y="54"/>
                      <a:pt x="12" y="55"/>
                    </a:cubicBezTo>
                    <a:cubicBezTo>
                      <a:pt x="12" y="55"/>
                      <a:pt x="12" y="55"/>
                      <a:pt x="13" y="56"/>
                    </a:cubicBezTo>
                    <a:cubicBezTo>
                      <a:pt x="13" y="56"/>
                      <a:pt x="13" y="56"/>
                      <a:pt x="13" y="57"/>
                    </a:cubicBezTo>
                    <a:cubicBezTo>
                      <a:pt x="13" y="57"/>
                      <a:pt x="13" y="57"/>
                      <a:pt x="13" y="57"/>
                    </a:cubicBezTo>
                    <a:cubicBezTo>
                      <a:pt x="4" y="57"/>
                      <a:pt x="4" y="57"/>
                      <a:pt x="4" y="57"/>
                    </a:cubicBezTo>
                    <a:lnTo>
                      <a:pt x="4"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5">
                <a:extLst>
                  <a:ext uri="{FF2B5EF4-FFF2-40B4-BE49-F238E27FC236}">
                    <a16:creationId xmlns:a16="http://schemas.microsoft.com/office/drawing/2014/main" id="{208E2306-A017-EC47-95BF-9E9A6AFCEBD7}"/>
                  </a:ext>
                </a:extLst>
              </p:cNvPr>
              <p:cNvSpPr>
                <a:spLocks/>
              </p:cNvSpPr>
              <p:nvPr/>
            </p:nvSpPr>
            <p:spPr bwMode="auto">
              <a:xfrm>
                <a:off x="6578600" y="5284788"/>
                <a:ext cx="487363" cy="230188"/>
              </a:xfrm>
              <a:custGeom>
                <a:avLst/>
                <a:gdLst>
                  <a:gd name="T0" fmla="*/ 127 w 129"/>
                  <a:gd name="T1" fmla="*/ 0 h 61"/>
                  <a:gd name="T2" fmla="*/ 125 w 129"/>
                  <a:gd name="T3" fmla="*/ 2 h 61"/>
                  <a:gd name="T4" fmla="*/ 125 w 129"/>
                  <a:gd name="T5" fmla="*/ 57 h 61"/>
                  <a:gd name="T6" fmla="*/ 2 w 129"/>
                  <a:gd name="T7" fmla="*/ 57 h 61"/>
                  <a:gd name="T8" fmla="*/ 0 w 129"/>
                  <a:gd name="T9" fmla="*/ 59 h 61"/>
                  <a:gd name="T10" fmla="*/ 2 w 129"/>
                  <a:gd name="T11" fmla="*/ 61 h 61"/>
                  <a:gd name="T12" fmla="*/ 127 w 129"/>
                  <a:gd name="T13" fmla="*/ 61 h 61"/>
                  <a:gd name="T14" fmla="*/ 129 w 129"/>
                  <a:gd name="T15" fmla="*/ 59 h 61"/>
                  <a:gd name="T16" fmla="*/ 129 w 129"/>
                  <a:gd name="T17" fmla="*/ 2 h 61"/>
                  <a:gd name="T18" fmla="*/ 127 w 129"/>
                  <a:gd name="T19"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61">
                    <a:moveTo>
                      <a:pt x="127" y="0"/>
                    </a:moveTo>
                    <a:cubicBezTo>
                      <a:pt x="126" y="0"/>
                      <a:pt x="125" y="1"/>
                      <a:pt x="125" y="2"/>
                    </a:cubicBezTo>
                    <a:cubicBezTo>
                      <a:pt x="125" y="57"/>
                      <a:pt x="125" y="57"/>
                      <a:pt x="125" y="57"/>
                    </a:cubicBezTo>
                    <a:cubicBezTo>
                      <a:pt x="2" y="57"/>
                      <a:pt x="2" y="57"/>
                      <a:pt x="2" y="57"/>
                    </a:cubicBezTo>
                    <a:cubicBezTo>
                      <a:pt x="1" y="57"/>
                      <a:pt x="0" y="58"/>
                      <a:pt x="0" y="59"/>
                    </a:cubicBezTo>
                    <a:cubicBezTo>
                      <a:pt x="0" y="60"/>
                      <a:pt x="1" y="61"/>
                      <a:pt x="2" y="61"/>
                    </a:cubicBezTo>
                    <a:cubicBezTo>
                      <a:pt x="127" y="61"/>
                      <a:pt x="127" y="61"/>
                      <a:pt x="127" y="61"/>
                    </a:cubicBezTo>
                    <a:cubicBezTo>
                      <a:pt x="128" y="61"/>
                      <a:pt x="129" y="60"/>
                      <a:pt x="129" y="59"/>
                    </a:cubicBezTo>
                    <a:cubicBezTo>
                      <a:pt x="129" y="2"/>
                      <a:pt x="129" y="2"/>
                      <a:pt x="129" y="2"/>
                    </a:cubicBezTo>
                    <a:cubicBezTo>
                      <a:pt x="129" y="1"/>
                      <a:pt x="128" y="0"/>
                      <a:pt x="12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1" name="TextBox 40">
              <a:extLst>
                <a:ext uri="{FF2B5EF4-FFF2-40B4-BE49-F238E27FC236}">
                  <a16:creationId xmlns:a16="http://schemas.microsoft.com/office/drawing/2014/main" id="{1B902841-3F7B-5C38-C483-81A3D483F94C}"/>
                </a:ext>
              </a:extLst>
            </p:cNvPr>
            <p:cNvSpPr txBox="1"/>
            <p:nvPr/>
          </p:nvSpPr>
          <p:spPr>
            <a:xfrm>
              <a:off x="8883488" y="2104421"/>
              <a:ext cx="2737243" cy="307777"/>
            </a:xfrm>
            <a:prstGeom prst="rect">
              <a:avLst/>
            </a:prstGeom>
            <a:noFill/>
          </p:spPr>
          <p:txBody>
            <a:bodyPr wrap="square" rtlCol="0">
              <a:spAutoFit/>
            </a:bodyPr>
            <a:lstStyle/>
            <a:p>
              <a:r>
                <a:rPr lang="en-US" sz="1400" b="1" dirty="0"/>
                <a:t>Lower total cost of ownership</a:t>
              </a:r>
            </a:p>
          </p:txBody>
        </p:sp>
        <p:grpSp>
          <p:nvGrpSpPr>
            <p:cNvPr id="49" name="Group 48">
              <a:extLst>
                <a:ext uri="{FF2B5EF4-FFF2-40B4-BE49-F238E27FC236}">
                  <a16:creationId xmlns:a16="http://schemas.microsoft.com/office/drawing/2014/main" id="{3436FA06-DCF7-A29F-4579-1D481EA3C254}"/>
                </a:ext>
              </a:extLst>
            </p:cNvPr>
            <p:cNvGrpSpPr/>
            <p:nvPr/>
          </p:nvGrpSpPr>
          <p:grpSpPr>
            <a:xfrm>
              <a:off x="9141209" y="2841948"/>
              <a:ext cx="452336" cy="454928"/>
              <a:chOff x="8415338" y="3789363"/>
              <a:chExt cx="482600" cy="479425"/>
            </a:xfrm>
            <a:solidFill>
              <a:srgbClr val="7030A0"/>
            </a:solidFill>
          </p:grpSpPr>
          <p:sp>
            <p:nvSpPr>
              <p:cNvPr id="50" name="Freeform 260">
                <a:extLst>
                  <a:ext uri="{FF2B5EF4-FFF2-40B4-BE49-F238E27FC236}">
                    <a16:creationId xmlns:a16="http://schemas.microsoft.com/office/drawing/2014/main" id="{7A851DE9-9472-BFEA-7C9A-87C662DB4FED}"/>
                  </a:ext>
                </a:extLst>
              </p:cNvPr>
              <p:cNvSpPr>
                <a:spLocks/>
              </p:cNvSpPr>
              <p:nvPr/>
            </p:nvSpPr>
            <p:spPr bwMode="auto">
              <a:xfrm>
                <a:off x="8415338" y="3789363"/>
                <a:ext cx="482600" cy="479425"/>
              </a:xfrm>
              <a:custGeom>
                <a:avLst/>
                <a:gdLst>
                  <a:gd name="T0" fmla="*/ 64 w 128"/>
                  <a:gd name="T1" fmla="*/ 127 h 127"/>
                  <a:gd name="T2" fmla="*/ 128 w 128"/>
                  <a:gd name="T3" fmla="*/ 64 h 127"/>
                  <a:gd name="T4" fmla="*/ 126 w 128"/>
                  <a:gd name="T5" fmla="*/ 62 h 127"/>
                  <a:gd name="T6" fmla="*/ 124 w 128"/>
                  <a:gd name="T7" fmla="*/ 64 h 127"/>
                  <a:gd name="T8" fmla="*/ 64 w 128"/>
                  <a:gd name="T9" fmla="*/ 123 h 127"/>
                  <a:gd name="T10" fmla="*/ 4 w 128"/>
                  <a:gd name="T11" fmla="*/ 64 h 127"/>
                  <a:gd name="T12" fmla="*/ 64 w 128"/>
                  <a:gd name="T13" fmla="*/ 4 h 127"/>
                  <a:gd name="T14" fmla="*/ 101 w 128"/>
                  <a:gd name="T15" fmla="*/ 16 h 127"/>
                  <a:gd name="T16" fmla="*/ 90 w 128"/>
                  <a:gd name="T17" fmla="*/ 18 h 127"/>
                  <a:gd name="T18" fmla="*/ 88 w 128"/>
                  <a:gd name="T19" fmla="*/ 20 h 127"/>
                  <a:gd name="T20" fmla="*/ 90 w 128"/>
                  <a:gd name="T21" fmla="*/ 22 h 127"/>
                  <a:gd name="T22" fmla="*/ 90 w 128"/>
                  <a:gd name="T23" fmla="*/ 22 h 127"/>
                  <a:gd name="T24" fmla="*/ 106 w 128"/>
                  <a:gd name="T25" fmla="*/ 20 h 127"/>
                  <a:gd name="T26" fmla="*/ 107 w 128"/>
                  <a:gd name="T27" fmla="*/ 19 h 127"/>
                  <a:gd name="T28" fmla="*/ 108 w 128"/>
                  <a:gd name="T29" fmla="*/ 18 h 127"/>
                  <a:gd name="T30" fmla="*/ 106 w 128"/>
                  <a:gd name="T31" fmla="*/ 2 h 127"/>
                  <a:gd name="T32" fmla="*/ 104 w 128"/>
                  <a:gd name="T33" fmla="*/ 0 h 127"/>
                  <a:gd name="T34" fmla="*/ 102 w 128"/>
                  <a:gd name="T35" fmla="*/ 3 h 127"/>
                  <a:gd name="T36" fmla="*/ 103 w 128"/>
                  <a:gd name="T37" fmla="*/ 13 h 127"/>
                  <a:gd name="T38" fmla="*/ 64 w 128"/>
                  <a:gd name="T39" fmla="*/ 0 h 127"/>
                  <a:gd name="T40" fmla="*/ 0 w 128"/>
                  <a:gd name="T41" fmla="*/ 64 h 127"/>
                  <a:gd name="T42" fmla="*/ 64 w 128"/>
                  <a:gd name="T43"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127">
                    <a:moveTo>
                      <a:pt x="64" y="127"/>
                    </a:moveTo>
                    <a:cubicBezTo>
                      <a:pt x="99" y="127"/>
                      <a:pt x="128" y="99"/>
                      <a:pt x="128" y="64"/>
                    </a:cubicBezTo>
                    <a:cubicBezTo>
                      <a:pt x="128" y="63"/>
                      <a:pt x="127" y="62"/>
                      <a:pt x="126" y="62"/>
                    </a:cubicBezTo>
                    <a:cubicBezTo>
                      <a:pt x="125" y="62"/>
                      <a:pt x="124" y="63"/>
                      <a:pt x="124" y="64"/>
                    </a:cubicBezTo>
                    <a:cubicBezTo>
                      <a:pt x="124" y="97"/>
                      <a:pt x="97" y="123"/>
                      <a:pt x="64" y="123"/>
                    </a:cubicBezTo>
                    <a:cubicBezTo>
                      <a:pt x="31" y="123"/>
                      <a:pt x="4" y="97"/>
                      <a:pt x="4" y="64"/>
                    </a:cubicBezTo>
                    <a:cubicBezTo>
                      <a:pt x="4" y="31"/>
                      <a:pt x="31" y="4"/>
                      <a:pt x="64" y="4"/>
                    </a:cubicBezTo>
                    <a:cubicBezTo>
                      <a:pt x="77" y="4"/>
                      <a:pt x="90" y="8"/>
                      <a:pt x="101" y="16"/>
                    </a:cubicBezTo>
                    <a:cubicBezTo>
                      <a:pt x="90" y="18"/>
                      <a:pt x="90" y="18"/>
                      <a:pt x="90" y="18"/>
                    </a:cubicBezTo>
                    <a:cubicBezTo>
                      <a:pt x="89" y="18"/>
                      <a:pt x="88" y="19"/>
                      <a:pt x="88" y="20"/>
                    </a:cubicBezTo>
                    <a:cubicBezTo>
                      <a:pt x="88" y="21"/>
                      <a:pt x="89" y="22"/>
                      <a:pt x="90" y="22"/>
                    </a:cubicBezTo>
                    <a:cubicBezTo>
                      <a:pt x="90" y="22"/>
                      <a:pt x="90" y="22"/>
                      <a:pt x="90" y="22"/>
                    </a:cubicBezTo>
                    <a:cubicBezTo>
                      <a:pt x="106" y="20"/>
                      <a:pt x="106" y="20"/>
                      <a:pt x="106" y="20"/>
                    </a:cubicBezTo>
                    <a:cubicBezTo>
                      <a:pt x="106" y="20"/>
                      <a:pt x="107" y="20"/>
                      <a:pt x="107" y="19"/>
                    </a:cubicBezTo>
                    <a:cubicBezTo>
                      <a:pt x="107" y="19"/>
                      <a:pt x="108" y="18"/>
                      <a:pt x="108" y="18"/>
                    </a:cubicBezTo>
                    <a:cubicBezTo>
                      <a:pt x="106" y="2"/>
                      <a:pt x="106" y="2"/>
                      <a:pt x="106" y="2"/>
                    </a:cubicBezTo>
                    <a:cubicBezTo>
                      <a:pt x="106" y="1"/>
                      <a:pt x="105" y="0"/>
                      <a:pt x="104" y="0"/>
                    </a:cubicBezTo>
                    <a:cubicBezTo>
                      <a:pt x="103" y="0"/>
                      <a:pt x="102" y="1"/>
                      <a:pt x="102" y="3"/>
                    </a:cubicBezTo>
                    <a:cubicBezTo>
                      <a:pt x="103" y="13"/>
                      <a:pt x="103" y="13"/>
                      <a:pt x="103" y="13"/>
                    </a:cubicBezTo>
                    <a:cubicBezTo>
                      <a:pt x="92" y="5"/>
                      <a:pt x="78" y="0"/>
                      <a:pt x="64" y="0"/>
                    </a:cubicBezTo>
                    <a:cubicBezTo>
                      <a:pt x="29" y="0"/>
                      <a:pt x="0" y="28"/>
                      <a:pt x="0" y="64"/>
                    </a:cubicBezTo>
                    <a:cubicBezTo>
                      <a:pt x="0" y="99"/>
                      <a:pt x="29" y="127"/>
                      <a:pt x="64" y="1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1">
                <a:extLst>
                  <a:ext uri="{FF2B5EF4-FFF2-40B4-BE49-F238E27FC236}">
                    <a16:creationId xmlns:a16="http://schemas.microsoft.com/office/drawing/2014/main" id="{0F989E6F-1DEC-41F0-1640-2633920B1A53}"/>
                  </a:ext>
                </a:extLst>
              </p:cNvPr>
              <p:cNvSpPr>
                <a:spLocks/>
              </p:cNvSpPr>
              <p:nvPr/>
            </p:nvSpPr>
            <p:spPr bwMode="auto">
              <a:xfrm>
                <a:off x="8648700" y="3857625"/>
                <a:ext cx="101600" cy="180975"/>
              </a:xfrm>
              <a:custGeom>
                <a:avLst/>
                <a:gdLst>
                  <a:gd name="T0" fmla="*/ 2 w 27"/>
                  <a:gd name="T1" fmla="*/ 0 h 48"/>
                  <a:gd name="T2" fmla="*/ 0 w 27"/>
                  <a:gd name="T3" fmla="*/ 2 h 48"/>
                  <a:gd name="T4" fmla="*/ 0 w 27"/>
                  <a:gd name="T5" fmla="*/ 46 h 48"/>
                  <a:gd name="T6" fmla="*/ 2 w 27"/>
                  <a:gd name="T7" fmla="*/ 48 h 48"/>
                  <a:gd name="T8" fmla="*/ 25 w 27"/>
                  <a:gd name="T9" fmla="*/ 48 h 48"/>
                  <a:gd name="T10" fmla="*/ 27 w 27"/>
                  <a:gd name="T11" fmla="*/ 46 h 48"/>
                  <a:gd name="T12" fmla="*/ 25 w 27"/>
                  <a:gd name="T13" fmla="*/ 44 h 48"/>
                  <a:gd name="T14" fmla="*/ 4 w 27"/>
                  <a:gd name="T15" fmla="*/ 44 h 48"/>
                  <a:gd name="T16" fmla="*/ 4 w 27"/>
                  <a:gd name="T17" fmla="*/ 2 h 48"/>
                  <a:gd name="T18" fmla="*/ 2 w 27"/>
                  <a:gd name="T1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48">
                    <a:moveTo>
                      <a:pt x="2" y="0"/>
                    </a:moveTo>
                    <a:cubicBezTo>
                      <a:pt x="1" y="0"/>
                      <a:pt x="0" y="1"/>
                      <a:pt x="0" y="2"/>
                    </a:cubicBezTo>
                    <a:cubicBezTo>
                      <a:pt x="0" y="46"/>
                      <a:pt x="0" y="46"/>
                      <a:pt x="0" y="46"/>
                    </a:cubicBezTo>
                    <a:cubicBezTo>
                      <a:pt x="0" y="47"/>
                      <a:pt x="1" y="48"/>
                      <a:pt x="2" y="48"/>
                    </a:cubicBezTo>
                    <a:cubicBezTo>
                      <a:pt x="25" y="48"/>
                      <a:pt x="25" y="48"/>
                      <a:pt x="25" y="48"/>
                    </a:cubicBezTo>
                    <a:cubicBezTo>
                      <a:pt x="26" y="48"/>
                      <a:pt x="27" y="47"/>
                      <a:pt x="27" y="46"/>
                    </a:cubicBezTo>
                    <a:cubicBezTo>
                      <a:pt x="27" y="45"/>
                      <a:pt x="26" y="44"/>
                      <a:pt x="25" y="44"/>
                    </a:cubicBezTo>
                    <a:cubicBezTo>
                      <a:pt x="4" y="44"/>
                      <a:pt x="4" y="44"/>
                      <a:pt x="4" y="44"/>
                    </a:cubicBezTo>
                    <a:cubicBezTo>
                      <a:pt x="4" y="2"/>
                      <a:pt x="4" y="2"/>
                      <a:pt x="4" y="2"/>
                    </a:cubicBezTo>
                    <a:cubicBezTo>
                      <a:pt x="4" y="1"/>
                      <a:pt x="3"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3" name="TextBox 52">
              <a:extLst>
                <a:ext uri="{FF2B5EF4-FFF2-40B4-BE49-F238E27FC236}">
                  <a16:creationId xmlns:a16="http://schemas.microsoft.com/office/drawing/2014/main" id="{0F9A8D44-5C7B-6CC8-B6A2-0F85DA4A29FA}"/>
                </a:ext>
              </a:extLst>
            </p:cNvPr>
            <p:cNvSpPr txBox="1"/>
            <p:nvPr/>
          </p:nvSpPr>
          <p:spPr>
            <a:xfrm>
              <a:off x="9699311" y="2939338"/>
              <a:ext cx="1999340" cy="307777"/>
            </a:xfrm>
            <a:prstGeom prst="rect">
              <a:avLst/>
            </a:prstGeom>
            <a:noFill/>
          </p:spPr>
          <p:txBody>
            <a:bodyPr wrap="square" rtlCol="0">
              <a:spAutoFit/>
            </a:bodyPr>
            <a:lstStyle/>
            <a:p>
              <a:r>
                <a:rPr lang="en-US" sz="1400" b="1" dirty="0"/>
                <a:t>Faster time to market</a:t>
              </a:r>
            </a:p>
          </p:txBody>
        </p:sp>
        <p:grpSp>
          <p:nvGrpSpPr>
            <p:cNvPr id="54" name="Group 53">
              <a:extLst>
                <a:ext uri="{FF2B5EF4-FFF2-40B4-BE49-F238E27FC236}">
                  <a16:creationId xmlns:a16="http://schemas.microsoft.com/office/drawing/2014/main" id="{ECD236F6-8AFF-1709-4D6E-2897D87EC507}"/>
                </a:ext>
              </a:extLst>
            </p:cNvPr>
            <p:cNvGrpSpPr/>
            <p:nvPr/>
          </p:nvGrpSpPr>
          <p:grpSpPr>
            <a:xfrm>
              <a:off x="6975266" y="2302661"/>
              <a:ext cx="465718" cy="434975"/>
              <a:chOff x="3240088" y="4651376"/>
              <a:chExt cx="471488" cy="434975"/>
            </a:xfrm>
            <a:solidFill>
              <a:srgbClr val="7030A0"/>
            </a:solidFill>
          </p:grpSpPr>
          <p:sp>
            <p:nvSpPr>
              <p:cNvPr id="55" name="Freeform 49">
                <a:extLst>
                  <a:ext uri="{FF2B5EF4-FFF2-40B4-BE49-F238E27FC236}">
                    <a16:creationId xmlns:a16="http://schemas.microsoft.com/office/drawing/2014/main" id="{F2CA7BEE-7E37-2AA3-FD9E-5F0CC31D742A}"/>
                  </a:ext>
                </a:extLst>
              </p:cNvPr>
              <p:cNvSpPr>
                <a:spLocks/>
              </p:cNvSpPr>
              <p:nvPr/>
            </p:nvSpPr>
            <p:spPr bwMode="auto">
              <a:xfrm>
                <a:off x="3486150" y="4651376"/>
                <a:ext cx="120650" cy="87313"/>
              </a:xfrm>
              <a:custGeom>
                <a:avLst/>
                <a:gdLst>
                  <a:gd name="T0" fmla="*/ 29 w 32"/>
                  <a:gd name="T1" fmla="*/ 23 h 23"/>
                  <a:gd name="T2" fmla="*/ 28 w 32"/>
                  <a:gd name="T3" fmla="*/ 23 h 23"/>
                  <a:gd name="T4" fmla="*/ 27 w 32"/>
                  <a:gd name="T5" fmla="*/ 21 h 23"/>
                  <a:gd name="T6" fmla="*/ 28 w 32"/>
                  <a:gd name="T7" fmla="*/ 16 h 23"/>
                  <a:gd name="T8" fmla="*/ 16 w 32"/>
                  <a:gd name="T9" fmla="*/ 4 h 23"/>
                  <a:gd name="T10" fmla="*/ 4 w 32"/>
                  <a:gd name="T11" fmla="*/ 16 h 23"/>
                  <a:gd name="T12" fmla="*/ 2 w 32"/>
                  <a:gd name="T13" fmla="*/ 18 h 23"/>
                  <a:gd name="T14" fmla="*/ 0 w 32"/>
                  <a:gd name="T15" fmla="*/ 16 h 23"/>
                  <a:gd name="T16" fmla="*/ 16 w 32"/>
                  <a:gd name="T17" fmla="*/ 0 h 23"/>
                  <a:gd name="T18" fmla="*/ 32 w 32"/>
                  <a:gd name="T19" fmla="*/ 16 h 23"/>
                  <a:gd name="T20" fmla="*/ 31 w 32"/>
                  <a:gd name="T21" fmla="*/ 22 h 23"/>
                  <a:gd name="T22" fmla="*/ 29 w 32"/>
                  <a:gd name="T23"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23">
                    <a:moveTo>
                      <a:pt x="29" y="23"/>
                    </a:moveTo>
                    <a:cubicBezTo>
                      <a:pt x="29" y="23"/>
                      <a:pt x="29" y="23"/>
                      <a:pt x="28" y="23"/>
                    </a:cubicBezTo>
                    <a:cubicBezTo>
                      <a:pt x="27" y="23"/>
                      <a:pt x="27" y="22"/>
                      <a:pt x="27" y="21"/>
                    </a:cubicBezTo>
                    <a:cubicBezTo>
                      <a:pt x="28" y="19"/>
                      <a:pt x="28" y="17"/>
                      <a:pt x="28" y="16"/>
                    </a:cubicBezTo>
                    <a:cubicBezTo>
                      <a:pt x="28" y="9"/>
                      <a:pt x="23" y="4"/>
                      <a:pt x="16" y="4"/>
                    </a:cubicBezTo>
                    <a:cubicBezTo>
                      <a:pt x="10" y="4"/>
                      <a:pt x="4" y="9"/>
                      <a:pt x="4" y="16"/>
                    </a:cubicBezTo>
                    <a:cubicBezTo>
                      <a:pt x="4" y="17"/>
                      <a:pt x="3" y="18"/>
                      <a:pt x="2" y="18"/>
                    </a:cubicBezTo>
                    <a:cubicBezTo>
                      <a:pt x="1" y="18"/>
                      <a:pt x="0" y="17"/>
                      <a:pt x="0" y="16"/>
                    </a:cubicBezTo>
                    <a:cubicBezTo>
                      <a:pt x="0" y="7"/>
                      <a:pt x="7" y="0"/>
                      <a:pt x="16" y="0"/>
                    </a:cubicBezTo>
                    <a:cubicBezTo>
                      <a:pt x="25" y="0"/>
                      <a:pt x="32" y="7"/>
                      <a:pt x="32" y="16"/>
                    </a:cubicBezTo>
                    <a:cubicBezTo>
                      <a:pt x="32" y="18"/>
                      <a:pt x="32" y="20"/>
                      <a:pt x="31" y="22"/>
                    </a:cubicBezTo>
                    <a:cubicBezTo>
                      <a:pt x="31" y="23"/>
                      <a:pt x="30" y="23"/>
                      <a:pt x="29"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50">
                <a:extLst>
                  <a:ext uri="{FF2B5EF4-FFF2-40B4-BE49-F238E27FC236}">
                    <a16:creationId xmlns:a16="http://schemas.microsoft.com/office/drawing/2014/main" id="{688D549F-DF8B-8784-37C3-7BED6ED388C0}"/>
                  </a:ext>
                </a:extLst>
              </p:cNvPr>
              <p:cNvSpPr>
                <a:spLocks/>
              </p:cNvSpPr>
              <p:nvPr/>
            </p:nvSpPr>
            <p:spPr bwMode="auto">
              <a:xfrm>
                <a:off x="3486150" y="4999038"/>
                <a:ext cx="120650" cy="87313"/>
              </a:xfrm>
              <a:custGeom>
                <a:avLst/>
                <a:gdLst>
                  <a:gd name="T0" fmla="*/ 16 w 32"/>
                  <a:gd name="T1" fmla="*/ 23 h 23"/>
                  <a:gd name="T2" fmla="*/ 0 w 32"/>
                  <a:gd name="T3" fmla="*/ 7 h 23"/>
                  <a:gd name="T4" fmla="*/ 2 w 32"/>
                  <a:gd name="T5" fmla="*/ 5 h 23"/>
                  <a:gd name="T6" fmla="*/ 4 w 32"/>
                  <a:gd name="T7" fmla="*/ 7 h 23"/>
                  <a:gd name="T8" fmla="*/ 16 w 32"/>
                  <a:gd name="T9" fmla="*/ 19 h 23"/>
                  <a:gd name="T10" fmla="*/ 28 w 32"/>
                  <a:gd name="T11" fmla="*/ 7 h 23"/>
                  <a:gd name="T12" fmla="*/ 27 w 32"/>
                  <a:gd name="T13" fmla="*/ 3 h 23"/>
                  <a:gd name="T14" fmla="*/ 28 w 32"/>
                  <a:gd name="T15" fmla="*/ 0 h 23"/>
                  <a:gd name="T16" fmla="*/ 31 w 32"/>
                  <a:gd name="T17" fmla="*/ 1 h 23"/>
                  <a:gd name="T18" fmla="*/ 32 w 32"/>
                  <a:gd name="T19" fmla="*/ 7 h 23"/>
                  <a:gd name="T20" fmla="*/ 16 w 32"/>
                  <a:gd name="T21"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23">
                    <a:moveTo>
                      <a:pt x="16" y="23"/>
                    </a:moveTo>
                    <a:cubicBezTo>
                      <a:pt x="7" y="23"/>
                      <a:pt x="0" y="16"/>
                      <a:pt x="0" y="7"/>
                    </a:cubicBezTo>
                    <a:cubicBezTo>
                      <a:pt x="0" y="6"/>
                      <a:pt x="1" y="5"/>
                      <a:pt x="2" y="5"/>
                    </a:cubicBezTo>
                    <a:cubicBezTo>
                      <a:pt x="3" y="5"/>
                      <a:pt x="4" y="6"/>
                      <a:pt x="4" y="7"/>
                    </a:cubicBezTo>
                    <a:cubicBezTo>
                      <a:pt x="4" y="14"/>
                      <a:pt x="10" y="19"/>
                      <a:pt x="16" y="19"/>
                    </a:cubicBezTo>
                    <a:cubicBezTo>
                      <a:pt x="23" y="19"/>
                      <a:pt x="28" y="14"/>
                      <a:pt x="28" y="7"/>
                    </a:cubicBezTo>
                    <a:cubicBezTo>
                      <a:pt x="28" y="6"/>
                      <a:pt x="28" y="4"/>
                      <a:pt x="27" y="3"/>
                    </a:cubicBezTo>
                    <a:cubicBezTo>
                      <a:pt x="27" y="2"/>
                      <a:pt x="27" y="0"/>
                      <a:pt x="28" y="0"/>
                    </a:cubicBezTo>
                    <a:cubicBezTo>
                      <a:pt x="29" y="0"/>
                      <a:pt x="31" y="0"/>
                      <a:pt x="31" y="1"/>
                    </a:cubicBezTo>
                    <a:cubicBezTo>
                      <a:pt x="32" y="3"/>
                      <a:pt x="32" y="5"/>
                      <a:pt x="32" y="7"/>
                    </a:cubicBezTo>
                    <a:cubicBezTo>
                      <a:pt x="32" y="16"/>
                      <a:pt x="25" y="23"/>
                      <a:pt x="16"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1">
                <a:extLst>
                  <a:ext uri="{FF2B5EF4-FFF2-40B4-BE49-F238E27FC236}">
                    <a16:creationId xmlns:a16="http://schemas.microsoft.com/office/drawing/2014/main" id="{71E8F27D-9A3E-222C-F099-3145494CC910}"/>
                  </a:ext>
                </a:extLst>
              </p:cNvPr>
              <p:cNvSpPr>
                <a:spLocks/>
              </p:cNvSpPr>
              <p:nvPr/>
            </p:nvSpPr>
            <p:spPr bwMode="auto">
              <a:xfrm>
                <a:off x="3595688" y="4859338"/>
                <a:ext cx="115888" cy="180975"/>
              </a:xfrm>
              <a:custGeom>
                <a:avLst/>
                <a:gdLst>
                  <a:gd name="T0" fmla="*/ 2 w 31"/>
                  <a:gd name="T1" fmla="*/ 48 h 48"/>
                  <a:gd name="T2" fmla="*/ 0 w 31"/>
                  <a:gd name="T3" fmla="*/ 46 h 48"/>
                  <a:gd name="T4" fmla="*/ 2 w 31"/>
                  <a:gd name="T5" fmla="*/ 44 h 48"/>
                  <a:gd name="T6" fmla="*/ 26 w 31"/>
                  <a:gd name="T7" fmla="*/ 15 h 48"/>
                  <a:gd name="T8" fmla="*/ 22 w 31"/>
                  <a:gd name="T9" fmla="*/ 3 h 48"/>
                  <a:gd name="T10" fmla="*/ 23 w 31"/>
                  <a:gd name="T11" fmla="*/ 1 h 48"/>
                  <a:gd name="T12" fmla="*/ 26 w 31"/>
                  <a:gd name="T13" fmla="*/ 1 h 48"/>
                  <a:gd name="T14" fmla="*/ 30 w 31"/>
                  <a:gd name="T15" fmla="*/ 15 h 48"/>
                  <a:gd name="T16" fmla="*/ 23 w 31"/>
                  <a:gd name="T17" fmla="*/ 37 h 48"/>
                  <a:gd name="T18" fmla="*/ 2 w 31"/>
                  <a:gd name="T19" fmla="*/ 48 h 48"/>
                  <a:gd name="T20" fmla="*/ 2 w 31"/>
                  <a:gd name="T2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48">
                    <a:moveTo>
                      <a:pt x="2" y="48"/>
                    </a:moveTo>
                    <a:cubicBezTo>
                      <a:pt x="1" y="48"/>
                      <a:pt x="0" y="47"/>
                      <a:pt x="0" y="46"/>
                    </a:cubicBezTo>
                    <a:cubicBezTo>
                      <a:pt x="0" y="45"/>
                      <a:pt x="1" y="44"/>
                      <a:pt x="2" y="44"/>
                    </a:cubicBezTo>
                    <a:cubicBezTo>
                      <a:pt x="16" y="43"/>
                      <a:pt x="27" y="30"/>
                      <a:pt x="26" y="15"/>
                    </a:cubicBezTo>
                    <a:cubicBezTo>
                      <a:pt x="26" y="11"/>
                      <a:pt x="25" y="7"/>
                      <a:pt x="22" y="3"/>
                    </a:cubicBezTo>
                    <a:cubicBezTo>
                      <a:pt x="22" y="2"/>
                      <a:pt x="22" y="1"/>
                      <a:pt x="23" y="1"/>
                    </a:cubicBezTo>
                    <a:cubicBezTo>
                      <a:pt x="24" y="0"/>
                      <a:pt x="25" y="0"/>
                      <a:pt x="26" y="1"/>
                    </a:cubicBezTo>
                    <a:cubicBezTo>
                      <a:pt x="28" y="5"/>
                      <a:pt x="30" y="10"/>
                      <a:pt x="30" y="15"/>
                    </a:cubicBezTo>
                    <a:cubicBezTo>
                      <a:pt x="31" y="23"/>
                      <a:pt x="28" y="31"/>
                      <a:pt x="23" y="37"/>
                    </a:cubicBezTo>
                    <a:cubicBezTo>
                      <a:pt x="18" y="44"/>
                      <a:pt x="10" y="47"/>
                      <a:pt x="2" y="48"/>
                    </a:cubicBezTo>
                    <a:cubicBezTo>
                      <a:pt x="2" y="48"/>
                      <a:pt x="2" y="48"/>
                      <a:pt x="2"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52">
                <a:extLst>
                  <a:ext uri="{FF2B5EF4-FFF2-40B4-BE49-F238E27FC236}">
                    <a16:creationId xmlns:a16="http://schemas.microsoft.com/office/drawing/2014/main" id="{BE879E6E-587C-34B4-34EC-882BB3221EBC}"/>
                  </a:ext>
                </a:extLst>
              </p:cNvPr>
              <p:cNvSpPr>
                <a:spLocks/>
              </p:cNvSpPr>
              <p:nvPr/>
            </p:nvSpPr>
            <p:spPr bwMode="auto">
              <a:xfrm>
                <a:off x="3595688" y="4694238"/>
                <a:ext cx="90488" cy="104775"/>
              </a:xfrm>
              <a:custGeom>
                <a:avLst/>
                <a:gdLst>
                  <a:gd name="T0" fmla="*/ 18 w 24"/>
                  <a:gd name="T1" fmla="*/ 28 h 28"/>
                  <a:gd name="T2" fmla="*/ 17 w 24"/>
                  <a:gd name="T3" fmla="*/ 28 h 28"/>
                  <a:gd name="T4" fmla="*/ 16 w 24"/>
                  <a:gd name="T5" fmla="*/ 25 h 28"/>
                  <a:gd name="T6" fmla="*/ 9 w 24"/>
                  <a:gd name="T7" fmla="*/ 5 h 28"/>
                  <a:gd name="T8" fmla="*/ 2 w 24"/>
                  <a:gd name="T9" fmla="*/ 4 h 28"/>
                  <a:gd name="T10" fmla="*/ 0 w 24"/>
                  <a:gd name="T11" fmla="*/ 2 h 28"/>
                  <a:gd name="T12" fmla="*/ 2 w 24"/>
                  <a:gd name="T13" fmla="*/ 0 h 28"/>
                  <a:gd name="T14" fmla="*/ 10 w 24"/>
                  <a:gd name="T15" fmla="*/ 2 h 28"/>
                  <a:gd name="T16" fmla="*/ 19 w 24"/>
                  <a:gd name="T17" fmla="*/ 27 h 28"/>
                  <a:gd name="T18" fmla="*/ 18 w 24"/>
                  <a:gd name="T19"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8">
                    <a:moveTo>
                      <a:pt x="18" y="28"/>
                    </a:moveTo>
                    <a:cubicBezTo>
                      <a:pt x="17" y="28"/>
                      <a:pt x="17" y="28"/>
                      <a:pt x="17" y="28"/>
                    </a:cubicBezTo>
                    <a:cubicBezTo>
                      <a:pt x="16" y="27"/>
                      <a:pt x="15" y="26"/>
                      <a:pt x="16" y="25"/>
                    </a:cubicBezTo>
                    <a:cubicBezTo>
                      <a:pt x="19" y="18"/>
                      <a:pt x="16" y="9"/>
                      <a:pt x="9" y="5"/>
                    </a:cubicBezTo>
                    <a:cubicBezTo>
                      <a:pt x="6" y="4"/>
                      <a:pt x="4" y="4"/>
                      <a:pt x="2" y="4"/>
                    </a:cubicBezTo>
                    <a:cubicBezTo>
                      <a:pt x="1" y="4"/>
                      <a:pt x="0" y="3"/>
                      <a:pt x="0" y="2"/>
                    </a:cubicBezTo>
                    <a:cubicBezTo>
                      <a:pt x="0" y="1"/>
                      <a:pt x="1" y="0"/>
                      <a:pt x="2" y="0"/>
                    </a:cubicBezTo>
                    <a:cubicBezTo>
                      <a:pt x="5" y="0"/>
                      <a:pt x="8" y="0"/>
                      <a:pt x="10" y="2"/>
                    </a:cubicBezTo>
                    <a:cubicBezTo>
                      <a:pt x="20" y="6"/>
                      <a:pt x="24" y="18"/>
                      <a:pt x="19" y="27"/>
                    </a:cubicBezTo>
                    <a:cubicBezTo>
                      <a:pt x="19" y="28"/>
                      <a:pt x="18" y="28"/>
                      <a:pt x="1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3">
                <a:extLst>
                  <a:ext uri="{FF2B5EF4-FFF2-40B4-BE49-F238E27FC236}">
                    <a16:creationId xmlns:a16="http://schemas.microsoft.com/office/drawing/2014/main" id="{1D8D758E-ECA2-35D9-7C11-460C62FD6EB2}"/>
                  </a:ext>
                </a:extLst>
              </p:cNvPr>
              <p:cNvSpPr>
                <a:spLocks/>
              </p:cNvSpPr>
              <p:nvPr/>
            </p:nvSpPr>
            <p:spPr bwMode="auto">
              <a:xfrm>
                <a:off x="3659188" y="4760913"/>
                <a:ext cx="41275" cy="139700"/>
              </a:xfrm>
              <a:custGeom>
                <a:avLst/>
                <a:gdLst>
                  <a:gd name="T0" fmla="*/ 3 w 11"/>
                  <a:gd name="T1" fmla="*/ 37 h 37"/>
                  <a:gd name="T2" fmla="*/ 1 w 11"/>
                  <a:gd name="T3" fmla="*/ 36 h 37"/>
                  <a:gd name="T4" fmla="*/ 1 w 11"/>
                  <a:gd name="T5" fmla="*/ 33 h 37"/>
                  <a:gd name="T6" fmla="*/ 1 w 11"/>
                  <a:gd name="T7" fmla="*/ 3 h 37"/>
                  <a:gd name="T8" fmla="*/ 1 w 11"/>
                  <a:gd name="T9" fmla="*/ 0 h 37"/>
                  <a:gd name="T10" fmla="*/ 4 w 11"/>
                  <a:gd name="T11" fmla="*/ 0 h 37"/>
                  <a:gd name="T12" fmla="*/ 11 w 11"/>
                  <a:gd name="T13" fmla="*/ 18 h 37"/>
                  <a:gd name="T14" fmla="*/ 4 w 11"/>
                  <a:gd name="T15" fmla="*/ 36 h 37"/>
                  <a:gd name="T16" fmla="*/ 3 w 11"/>
                  <a:gd name="T17"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37">
                    <a:moveTo>
                      <a:pt x="3" y="37"/>
                    </a:moveTo>
                    <a:cubicBezTo>
                      <a:pt x="2" y="37"/>
                      <a:pt x="2" y="37"/>
                      <a:pt x="1" y="36"/>
                    </a:cubicBezTo>
                    <a:cubicBezTo>
                      <a:pt x="0" y="36"/>
                      <a:pt x="0" y="34"/>
                      <a:pt x="1" y="33"/>
                    </a:cubicBezTo>
                    <a:cubicBezTo>
                      <a:pt x="10" y="25"/>
                      <a:pt x="10" y="11"/>
                      <a:pt x="1" y="3"/>
                    </a:cubicBezTo>
                    <a:cubicBezTo>
                      <a:pt x="0" y="2"/>
                      <a:pt x="0" y="1"/>
                      <a:pt x="1" y="0"/>
                    </a:cubicBezTo>
                    <a:cubicBezTo>
                      <a:pt x="2" y="0"/>
                      <a:pt x="3" y="0"/>
                      <a:pt x="4" y="0"/>
                    </a:cubicBezTo>
                    <a:cubicBezTo>
                      <a:pt x="9" y="5"/>
                      <a:pt x="11" y="12"/>
                      <a:pt x="11" y="18"/>
                    </a:cubicBezTo>
                    <a:cubicBezTo>
                      <a:pt x="11" y="25"/>
                      <a:pt x="9" y="31"/>
                      <a:pt x="4" y="36"/>
                    </a:cubicBezTo>
                    <a:cubicBezTo>
                      <a:pt x="4" y="37"/>
                      <a:pt x="3" y="37"/>
                      <a:pt x="3"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4">
                <a:extLst>
                  <a:ext uri="{FF2B5EF4-FFF2-40B4-BE49-F238E27FC236}">
                    <a16:creationId xmlns:a16="http://schemas.microsoft.com/office/drawing/2014/main" id="{8C40036D-3294-D8B6-588C-31C47C4D654C}"/>
                  </a:ext>
                </a:extLst>
              </p:cNvPr>
              <p:cNvSpPr>
                <a:spLocks/>
              </p:cNvSpPr>
              <p:nvPr/>
            </p:nvSpPr>
            <p:spPr bwMode="auto">
              <a:xfrm>
                <a:off x="3486150" y="4705351"/>
                <a:ext cx="14288" cy="328613"/>
              </a:xfrm>
              <a:custGeom>
                <a:avLst/>
                <a:gdLst>
                  <a:gd name="T0" fmla="*/ 2 w 4"/>
                  <a:gd name="T1" fmla="*/ 87 h 87"/>
                  <a:gd name="T2" fmla="*/ 0 w 4"/>
                  <a:gd name="T3" fmla="*/ 85 h 87"/>
                  <a:gd name="T4" fmla="*/ 0 w 4"/>
                  <a:gd name="T5" fmla="*/ 2 h 87"/>
                  <a:gd name="T6" fmla="*/ 2 w 4"/>
                  <a:gd name="T7" fmla="*/ 0 h 87"/>
                  <a:gd name="T8" fmla="*/ 4 w 4"/>
                  <a:gd name="T9" fmla="*/ 2 h 87"/>
                  <a:gd name="T10" fmla="*/ 4 w 4"/>
                  <a:gd name="T11" fmla="*/ 85 h 87"/>
                  <a:gd name="T12" fmla="*/ 2 w 4"/>
                  <a:gd name="T13" fmla="*/ 87 h 87"/>
                </a:gdLst>
                <a:ahLst/>
                <a:cxnLst>
                  <a:cxn ang="0">
                    <a:pos x="T0" y="T1"/>
                  </a:cxn>
                  <a:cxn ang="0">
                    <a:pos x="T2" y="T3"/>
                  </a:cxn>
                  <a:cxn ang="0">
                    <a:pos x="T4" y="T5"/>
                  </a:cxn>
                  <a:cxn ang="0">
                    <a:pos x="T6" y="T7"/>
                  </a:cxn>
                  <a:cxn ang="0">
                    <a:pos x="T8" y="T9"/>
                  </a:cxn>
                  <a:cxn ang="0">
                    <a:pos x="T10" y="T11"/>
                  </a:cxn>
                  <a:cxn ang="0">
                    <a:pos x="T12" y="T13"/>
                  </a:cxn>
                </a:cxnLst>
                <a:rect l="0" t="0" r="r" b="b"/>
                <a:pathLst>
                  <a:path w="4" h="87">
                    <a:moveTo>
                      <a:pt x="2" y="87"/>
                    </a:moveTo>
                    <a:cubicBezTo>
                      <a:pt x="1" y="87"/>
                      <a:pt x="0" y="87"/>
                      <a:pt x="0" y="85"/>
                    </a:cubicBezTo>
                    <a:cubicBezTo>
                      <a:pt x="0" y="2"/>
                      <a:pt x="0" y="2"/>
                      <a:pt x="0" y="2"/>
                    </a:cubicBezTo>
                    <a:cubicBezTo>
                      <a:pt x="0" y="1"/>
                      <a:pt x="1" y="0"/>
                      <a:pt x="2" y="0"/>
                    </a:cubicBezTo>
                    <a:cubicBezTo>
                      <a:pt x="3" y="0"/>
                      <a:pt x="4" y="1"/>
                      <a:pt x="4" y="2"/>
                    </a:cubicBezTo>
                    <a:cubicBezTo>
                      <a:pt x="4" y="85"/>
                      <a:pt x="4" y="85"/>
                      <a:pt x="4" y="85"/>
                    </a:cubicBezTo>
                    <a:cubicBezTo>
                      <a:pt x="4" y="87"/>
                      <a:pt x="3" y="87"/>
                      <a:pt x="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5">
                <a:extLst>
                  <a:ext uri="{FF2B5EF4-FFF2-40B4-BE49-F238E27FC236}">
                    <a16:creationId xmlns:a16="http://schemas.microsoft.com/office/drawing/2014/main" id="{F62E088C-0B70-358C-3FCF-FBC19929113A}"/>
                  </a:ext>
                </a:extLst>
              </p:cNvPr>
              <p:cNvSpPr>
                <a:spLocks/>
              </p:cNvSpPr>
              <p:nvPr/>
            </p:nvSpPr>
            <p:spPr bwMode="auto">
              <a:xfrm>
                <a:off x="3538538" y="4746626"/>
                <a:ext cx="33338" cy="98425"/>
              </a:xfrm>
              <a:custGeom>
                <a:avLst/>
                <a:gdLst>
                  <a:gd name="T0" fmla="*/ 2 w 9"/>
                  <a:gd name="T1" fmla="*/ 26 h 26"/>
                  <a:gd name="T2" fmla="*/ 1 w 9"/>
                  <a:gd name="T3" fmla="*/ 25 h 26"/>
                  <a:gd name="T4" fmla="*/ 1 w 9"/>
                  <a:gd name="T5" fmla="*/ 22 h 26"/>
                  <a:gd name="T6" fmla="*/ 5 w 9"/>
                  <a:gd name="T7" fmla="*/ 13 h 26"/>
                  <a:gd name="T8" fmla="*/ 1 w 9"/>
                  <a:gd name="T9" fmla="*/ 3 h 26"/>
                  <a:gd name="T10" fmla="*/ 1 w 9"/>
                  <a:gd name="T11" fmla="*/ 1 h 26"/>
                  <a:gd name="T12" fmla="*/ 4 w 9"/>
                  <a:gd name="T13" fmla="*/ 1 h 26"/>
                  <a:gd name="T14" fmla="*/ 9 w 9"/>
                  <a:gd name="T15" fmla="*/ 13 h 26"/>
                  <a:gd name="T16" fmla="*/ 4 w 9"/>
                  <a:gd name="T17" fmla="*/ 25 h 26"/>
                  <a:gd name="T18" fmla="*/ 2 w 9"/>
                  <a:gd name="T19"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26">
                    <a:moveTo>
                      <a:pt x="2" y="26"/>
                    </a:moveTo>
                    <a:cubicBezTo>
                      <a:pt x="2" y="26"/>
                      <a:pt x="1" y="26"/>
                      <a:pt x="1" y="25"/>
                    </a:cubicBezTo>
                    <a:cubicBezTo>
                      <a:pt x="0" y="24"/>
                      <a:pt x="0" y="23"/>
                      <a:pt x="1" y="22"/>
                    </a:cubicBezTo>
                    <a:cubicBezTo>
                      <a:pt x="3" y="20"/>
                      <a:pt x="5" y="17"/>
                      <a:pt x="5" y="13"/>
                    </a:cubicBezTo>
                    <a:cubicBezTo>
                      <a:pt x="5" y="9"/>
                      <a:pt x="3" y="6"/>
                      <a:pt x="1" y="3"/>
                    </a:cubicBezTo>
                    <a:cubicBezTo>
                      <a:pt x="0" y="3"/>
                      <a:pt x="0" y="1"/>
                      <a:pt x="1" y="1"/>
                    </a:cubicBezTo>
                    <a:cubicBezTo>
                      <a:pt x="2" y="0"/>
                      <a:pt x="3" y="0"/>
                      <a:pt x="4" y="1"/>
                    </a:cubicBezTo>
                    <a:cubicBezTo>
                      <a:pt x="7" y="4"/>
                      <a:pt x="9" y="8"/>
                      <a:pt x="9" y="13"/>
                    </a:cubicBezTo>
                    <a:cubicBezTo>
                      <a:pt x="9" y="18"/>
                      <a:pt x="7" y="22"/>
                      <a:pt x="4" y="25"/>
                    </a:cubicBezTo>
                    <a:cubicBezTo>
                      <a:pt x="3" y="26"/>
                      <a:pt x="3" y="26"/>
                      <a:pt x="2"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6">
                <a:extLst>
                  <a:ext uri="{FF2B5EF4-FFF2-40B4-BE49-F238E27FC236}">
                    <a16:creationId xmlns:a16="http://schemas.microsoft.com/office/drawing/2014/main" id="{1C7390DA-5000-BDDA-3CF3-FBE5EF818B4B}"/>
                  </a:ext>
                </a:extLst>
              </p:cNvPr>
              <p:cNvSpPr>
                <a:spLocks/>
              </p:cNvSpPr>
              <p:nvPr/>
            </p:nvSpPr>
            <p:spPr bwMode="auto">
              <a:xfrm>
                <a:off x="3560763" y="4787901"/>
                <a:ext cx="41275" cy="52388"/>
              </a:xfrm>
              <a:custGeom>
                <a:avLst/>
                <a:gdLst>
                  <a:gd name="T0" fmla="*/ 8 w 11"/>
                  <a:gd name="T1" fmla="*/ 14 h 14"/>
                  <a:gd name="T2" fmla="*/ 6 w 11"/>
                  <a:gd name="T3" fmla="*/ 13 h 14"/>
                  <a:gd name="T4" fmla="*/ 1 w 11"/>
                  <a:gd name="T5" fmla="*/ 4 h 14"/>
                  <a:gd name="T6" fmla="*/ 0 w 11"/>
                  <a:gd name="T7" fmla="*/ 1 h 14"/>
                  <a:gd name="T8" fmla="*/ 2 w 11"/>
                  <a:gd name="T9" fmla="*/ 0 h 14"/>
                  <a:gd name="T10" fmla="*/ 10 w 11"/>
                  <a:gd name="T11" fmla="*/ 12 h 14"/>
                  <a:gd name="T12" fmla="*/ 9 w 11"/>
                  <a:gd name="T13" fmla="*/ 14 h 14"/>
                  <a:gd name="T14" fmla="*/ 8 w 11"/>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4">
                    <a:moveTo>
                      <a:pt x="8" y="14"/>
                    </a:moveTo>
                    <a:cubicBezTo>
                      <a:pt x="7" y="14"/>
                      <a:pt x="7" y="14"/>
                      <a:pt x="6" y="13"/>
                    </a:cubicBezTo>
                    <a:cubicBezTo>
                      <a:pt x="6" y="5"/>
                      <a:pt x="2" y="4"/>
                      <a:pt x="1" y="4"/>
                    </a:cubicBezTo>
                    <a:cubicBezTo>
                      <a:pt x="0" y="4"/>
                      <a:pt x="0" y="3"/>
                      <a:pt x="0" y="1"/>
                    </a:cubicBezTo>
                    <a:cubicBezTo>
                      <a:pt x="0" y="0"/>
                      <a:pt x="1" y="0"/>
                      <a:pt x="2" y="0"/>
                    </a:cubicBezTo>
                    <a:cubicBezTo>
                      <a:pt x="2" y="0"/>
                      <a:pt x="9" y="1"/>
                      <a:pt x="10" y="12"/>
                    </a:cubicBezTo>
                    <a:cubicBezTo>
                      <a:pt x="11" y="13"/>
                      <a:pt x="10" y="14"/>
                      <a:pt x="9" y="14"/>
                    </a:cubicBezTo>
                    <a:cubicBezTo>
                      <a:pt x="9" y="14"/>
                      <a:pt x="9" y="14"/>
                      <a:pt x="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7">
                <a:extLst>
                  <a:ext uri="{FF2B5EF4-FFF2-40B4-BE49-F238E27FC236}">
                    <a16:creationId xmlns:a16="http://schemas.microsoft.com/office/drawing/2014/main" id="{9A984EFE-2808-1707-6222-90B4ECEF973E}"/>
                  </a:ext>
                </a:extLst>
              </p:cNvPr>
              <p:cNvSpPr>
                <a:spLocks/>
              </p:cNvSpPr>
              <p:nvPr/>
            </p:nvSpPr>
            <p:spPr bwMode="auto">
              <a:xfrm>
                <a:off x="3590925" y="4908551"/>
                <a:ext cx="38100" cy="71438"/>
              </a:xfrm>
              <a:custGeom>
                <a:avLst/>
                <a:gdLst>
                  <a:gd name="T0" fmla="*/ 2 w 10"/>
                  <a:gd name="T1" fmla="*/ 19 h 19"/>
                  <a:gd name="T2" fmla="*/ 0 w 10"/>
                  <a:gd name="T3" fmla="*/ 18 h 19"/>
                  <a:gd name="T4" fmla="*/ 1 w 10"/>
                  <a:gd name="T5" fmla="*/ 15 h 19"/>
                  <a:gd name="T6" fmla="*/ 5 w 10"/>
                  <a:gd name="T7" fmla="*/ 10 h 19"/>
                  <a:gd name="T8" fmla="*/ 5 w 10"/>
                  <a:gd name="T9" fmla="*/ 3 h 19"/>
                  <a:gd name="T10" fmla="*/ 5 w 10"/>
                  <a:gd name="T11" fmla="*/ 1 h 19"/>
                  <a:gd name="T12" fmla="*/ 8 w 10"/>
                  <a:gd name="T13" fmla="*/ 2 h 19"/>
                  <a:gd name="T14" fmla="*/ 9 w 10"/>
                  <a:gd name="T15" fmla="*/ 11 h 19"/>
                  <a:gd name="T16" fmla="*/ 3 w 10"/>
                  <a:gd name="T17" fmla="*/ 18 h 19"/>
                  <a:gd name="T18" fmla="*/ 2 w 10"/>
                  <a:gd name="T1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9">
                    <a:moveTo>
                      <a:pt x="2" y="19"/>
                    </a:moveTo>
                    <a:cubicBezTo>
                      <a:pt x="1" y="19"/>
                      <a:pt x="1" y="18"/>
                      <a:pt x="0" y="18"/>
                    </a:cubicBezTo>
                    <a:cubicBezTo>
                      <a:pt x="0" y="17"/>
                      <a:pt x="0" y="15"/>
                      <a:pt x="1" y="15"/>
                    </a:cubicBezTo>
                    <a:cubicBezTo>
                      <a:pt x="3" y="14"/>
                      <a:pt x="5" y="12"/>
                      <a:pt x="5" y="10"/>
                    </a:cubicBezTo>
                    <a:cubicBezTo>
                      <a:pt x="6" y="8"/>
                      <a:pt x="6" y="5"/>
                      <a:pt x="5" y="3"/>
                    </a:cubicBezTo>
                    <a:cubicBezTo>
                      <a:pt x="4" y="3"/>
                      <a:pt x="5" y="1"/>
                      <a:pt x="5" y="1"/>
                    </a:cubicBezTo>
                    <a:cubicBezTo>
                      <a:pt x="6" y="0"/>
                      <a:pt x="8" y="1"/>
                      <a:pt x="8" y="2"/>
                    </a:cubicBezTo>
                    <a:cubicBezTo>
                      <a:pt x="10" y="5"/>
                      <a:pt x="10" y="8"/>
                      <a:pt x="9" y="11"/>
                    </a:cubicBezTo>
                    <a:cubicBezTo>
                      <a:pt x="8" y="14"/>
                      <a:pt x="6" y="17"/>
                      <a:pt x="3" y="18"/>
                    </a:cubicBezTo>
                    <a:cubicBezTo>
                      <a:pt x="3" y="18"/>
                      <a:pt x="2" y="19"/>
                      <a:pt x="2"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8">
                <a:extLst>
                  <a:ext uri="{FF2B5EF4-FFF2-40B4-BE49-F238E27FC236}">
                    <a16:creationId xmlns:a16="http://schemas.microsoft.com/office/drawing/2014/main" id="{7131E67D-6995-BA19-A78B-462655DD692B}"/>
                  </a:ext>
                </a:extLst>
              </p:cNvPr>
              <p:cNvSpPr>
                <a:spLocks/>
              </p:cNvSpPr>
              <p:nvPr/>
            </p:nvSpPr>
            <p:spPr bwMode="auto">
              <a:xfrm>
                <a:off x="3614738" y="4919663"/>
                <a:ext cx="36513" cy="38100"/>
              </a:xfrm>
              <a:custGeom>
                <a:avLst/>
                <a:gdLst>
                  <a:gd name="T0" fmla="*/ 2 w 10"/>
                  <a:gd name="T1" fmla="*/ 10 h 10"/>
                  <a:gd name="T2" fmla="*/ 2 w 10"/>
                  <a:gd name="T3" fmla="*/ 10 h 10"/>
                  <a:gd name="T4" fmla="*/ 0 w 10"/>
                  <a:gd name="T5" fmla="*/ 7 h 10"/>
                  <a:gd name="T6" fmla="*/ 2 w 10"/>
                  <a:gd name="T7" fmla="*/ 6 h 10"/>
                  <a:gd name="T8" fmla="*/ 6 w 10"/>
                  <a:gd name="T9" fmla="*/ 1 h 10"/>
                  <a:gd name="T10" fmla="*/ 9 w 10"/>
                  <a:gd name="T11" fmla="*/ 0 h 10"/>
                  <a:gd name="T12" fmla="*/ 10 w 10"/>
                  <a:gd name="T13" fmla="*/ 3 h 10"/>
                  <a:gd name="T14" fmla="*/ 2 w 10"/>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2" y="10"/>
                    </a:moveTo>
                    <a:cubicBezTo>
                      <a:pt x="2" y="10"/>
                      <a:pt x="2" y="10"/>
                      <a:pt x="2" y="10"/>
                    </a:cubicBezTo>
                    <a:cubicBezTo>
                      <a:pt x="1" y="10"/>
                      <a:pt x="0" y="9"/>
                      <a:pt x="0" y="7"/>
                    </a:cubicBezTo>
                    <a:cubicBezTo>
                      <a:pt x="0" y="6"/>
                      <a:pt x="1" y="6"/>
                      <a:pt x="2" y="6"/>
                    </a:cubicBezTo>
                    <a:cubicBezTo>
                      <a:pt x="2" y="6"/>
                      <a:pt x="5" y="6"/>
                      <a:pt x="6" y="1"/>
                    </a:cubicBezTo>
                    <a:cubicBezTo>
                      <a:pt x="7" y="0"/>
                      <a:pt x="8" y="0"/>
                      <a:pt x="9" y="0"/>
                    </a:cubicBezTo>
                    <a:cubicBezTo>
                      <a:pt x="10" y="1"/>
                      <a:pt x="10" y="2"/>
                      <a:pt x="10" y="3"/>
                    </a:cubicBezTo>
                    <a:cubicBezTo>
                      <a:pt x="7" y="9"/>
                      <a:pt x="3" y="10"/>
                      <a:pt x="2"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9">
                <a:extLst>
                  <a:ext uri="{FF2B5EF4-FFF2-40B4-BE49-F238E27FC236}">
                    <a16:creationId xmlns:a16="http://schemas.microsoft.com/office/drawing/2014/main" id="{3B53A98A-0FD4-23E7-882C-B10D42312504}"/>
                  </a:ext>
                </a:extLst>
              </p:cNvPr>
              <p:cNvSpPr>
                <a:spLocks/>
              </p:cNvSpPr>
              <p:nvPr/>
            </p:nvSpPr>
            <p:spPr bwMode="auto">
              <a:xfrm>
                <a:off x="3614738" y="4821238"/>
                <a:ext cx="41275" cy="61913"/>
              </a:xfrm>
              <a:custGeom>
                <a:avLst/>
                <a:gdLst>
                  <a:gd name="T0" fmla="*/ 3 w 11"/>
                  <a:gd name="T1" fmla="*/ 16 h 16"/>
                  <a:gd name="T2" fmla="*/ 1 w 11"/>
                  <a:gd name="T3" fmla="*/ 15 h 16"/>
                  <a:gd name="T4" fmla="*/ 2 w 11"/>
                  <a:gd name="T5" fmla="*/ 12 h 16"/>
                  <a:gd name="T6" fmla="*/ 5 w 11"/>
                  <a:gd name="T7" fmla="*/ 3 h 16"/>
                  <a:gd name="T8" fmla="*/ 6 w 11"/>
                  <a:gd name="T9" fmla="*/ 1 h 16"/>
                  <a:gd name="T10" fmla="*/ 8 w 11"/>
                  <a:gd name="T11" fmla="*/ 1 h 16"/>
                  <a:gd name="T12" fmla="*/ 3 w 11"/>
                  <a:gd name="T13" fmla="*/ 16 h 16"/>
                  <a:gd name="T14" fmla="*/ 3 w 11"/>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6">
                    <a:moveTo>
                      <a:pt x="3" y="16"/>
                    </a:moveTo>
                    <a:cubicBezTo>
                      <a:pt x="2" y="16"/>
                      <a:pt x="1" y="16"/>
                      <a:pt x="1" y="15"/>
                    </a:cubicBezTo>
                    <a:cubicBezTo>
                      <a:pt x="0" y="14"/>
                      <a:pt x="1" y="13"/>
                      <a:pt x="2" y="12"/>
                    </a:cubicBezTo>
                    <a:cubicBezTo>
                      <a:pt x="8" y="9"/>
                      <a:pt x="5" y="4"/>
                      <a:pt x="5" y="3"/>
                    </a:cubicBezTo>
                    <a:cubicBezTo>
                      <a:pt x="4" y="2"/>
                      <a:pt x="5" y="1"/>
                      <a:pt x="6" y="1"/>
                    </a:cubicBezTo>
                    <a:cubicBezTo>
                      <a:pt x="7" y="0"/>
                      <a:pt x="8" y="0"/>
                      <a:pt x="8" y="1"/>
                    </a:cubicBezTo>
                    <a:cubicBezTo>
                      <a:pt x="10" y="4"/>
                      <a:pt x="11" y="12"/>
                      <a:pt x="3" y="16"/>
                    </a:cubicBezTo>
                    <a:cubicBezTo>
                      <a:pt x="3" y="16"/>
                      <a:pt x="3" y="16"/>
                      <a:pt x="3"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60">
                <a:extLst>
                  <a:ext uri="{FF2B5EF4-FFF2-40B4-BE49-F238E27FC236}">
                    <a16:creationId xmlns:a16="http://schemas.microsoft.com/office/drawing/2014/main" id="{1A2E22DC-BD73-9790-8FA1-411C2C60A2AE}"/>
                  </a:ext>
                </a:extLst>
              </p:cNvPr>
              <p:cNvSpPr>
                <a:spLocks/>
              </p:cNvSpPr>
              <p:nvPr/>
            </p:nvSpPr>
            <p:spPr bwMode="auto">
              <a:xfrm>
                <a:off x="3538538" y="4889501"/>
                <a:ext cx="46038" cy="57150"/>
              </a:xfrm>
              <a:custGeom>
                <a:avLst/>
                <a:gdLst>
                  <a:gd name="T0" fmla="*/ 10 w 12"/>
                  <a:gd name="T1" fmla="*/ 15 h 15"/>
                  <a:gd name="T2" fmla="*/ 9 w 12"/>
                  <a:gd name="T3" fmla="*/ 15 h 15"/>
                  <a:gd name="T4" fmla="*/ 3 w 12"/>
                  <a:gd name="T5" fmla="*/ 1 h 15"/>
                  <a:gd name="T6" fmla="*/ 5 w 12"/>
                  <a:gd name="T7" fmla="*/ 0 h 15"/>
                  <a:gd name="T8" fmla="*/ 6 w 12"/>
                  <a:gd name="T9" fmla="*/ 2 h 15"/>
                  <a:gd name="T10" fmla="*/ 11 w 12"/>
                  <a:gd name="T11" fmla="*/ 11 h 15"/>
                  <a:gd name="T12" fmla="*/ 12 w 12"/>
                  <a:gd name="T13" fmla="*/ 14 h 15"/>
                  <a:gd name="T14" fmla="*/ 10 w 12"/>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5">
                    <a:moveTo>
                      <a:pt x="10" y="15"/>
                    </a:moveTo>
                    <a:cubicBezTo>
                      <a:pt x="10" y="15"/>
                      <a:pt x="10" y="15"/>
                      <a:pt x="9" y="15"/>
                    </a:cubicBezTo>
                    <a:cubicBezTo>
                      <a:pt x="6" y="14"/>
                      <a:pt x="0" y="10"/>
                      <a:pt x="3" y="1"/>
                    </a:cubicBezTo>
                    <a:cubicBezTo>
                      <a:pt x="3" y="0"/>
                      <a:pt x="4" y="0"/>
                      <a:pt x="5" y="0"/>
                    </a:cubicBezTo>
                    <a:cubicBezTo>
                      <a:pt x="6" y="0"/>
                      <a:pt x="7" y="1"/>
                      <a:pt x="6" y="2"/>
                    </a:cubicBezTo>
                    <a:cubicBezTo>
                      <a:pt x="5" y="9"/>
                      <a:pt x="10" y="11"/>
                      <a:pt x="11" y="11"/>
                    </a:cubicBezTo>
                    <a:cubicBezTo>
                      <a:pt x="12" y="11"/>
                      <a:pt x="12" y="13"/>
                      <a:pt x="12" y="14"/>
                    </a:cubicBezTo>
                    <a:cubicBezTo>
                      <a:pt x="12" y="14"/>
                      <a:pt x="11" y="15"/>
                      <a:pt x="10"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1">
                <a:extLst>
                  <a:ext uri="{FF2B5EF4-FFF2-40B4-BE49-F238E27FC236}">
                    <a16:creationId xmlns:a16="http://schemas.microsoft.com/office/drawing/2014/main" id="{E3E1CEE8-7E9E-CC77-E079-5E5365D1F903}"/>
                  </a:ext>
                </a:extLst>
              </p:cNvPr>
              <p:cNvSpPr>
                <a:spLocks/>
              </p:cNvSpPr>
              <p:nvPr/>
            </p:nvSpPr>
            <p:spPr bwMode="auto">
              <a:xfrm>
                <a:off x="3343275" y="4999038"/>
                <a:ext cx="120650" cy="87313"/>
              </a:xfrm>
              <a:custGeom>
                <a:avLst/>
                <a:gdLst>
                  <a:gd name="T0" fmla="*/ 16 w 32"/>
                  <a:gd name="T1" fmla="*/ 23 h 23"/>
                  <a:gd name="T2" fmla="*/ 0 w 32"/>
                  <a:gd name="T3" fmla="*/ 7 h 23"/>
                  <a:gd name="T4" fmla="*/ 1 w 32"/>
                  <a:gd name="T5" fmla="*/ 1 h 23"/>
                  <a:gd name="T6" fmla="*/ 4 w 32"/>
                  <a:gd name="T7" fmla="*/ 0 h 23"/>
                  <a:gd name="T8" fmla="*/ 5 w 32"/>
                  <a:gd name="T9" fmla="*/ 3 h 23"/>
                  <a:gd name="T10" fmla="*/ 4 w 32"/>
                  <a:gd name="T11" fmla="*/ 7 h 23"/>
                  <a:gd name="T12" fmla="*/ 16 w 32"/>
                  <a:gd name="T13" fmla="*/ 19 h 23"/>
                  <a:gd name="T14" fmla="*/ 28 w 32"/>
                  <a:gd name="T15" fmla="*/ 7 h 23"/>
                  <a:gd name="T16" fmla="*/ 30 w 32"/>
                  <a:gd name="T17" fmla="*/ 5 h 23"/>
                  <a:gd name="T18" fmla="*/ 32 w 32"/>
                  <a:gd name="T19" fmla="*/ 7 h 23"/>
                  <a:gd name="T20" fmla="*/ 16 w 32"/>
                  <a:gd name="T21"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23">
                    <a:moveTo>
                      <a:pt x="16" y="23"/>
                    </a:moveTo>
                    <a:cubicBezTo>
                      <a:pt x="7" y="23"/>
                      <a:pt x="0" y="16"/>
                      <a:pt x="0" y="7"/>
                    </a:cubicBezTo>
                    <a:cubicBezTo>
                      <a:pt x="0" y="5"/>
                      <a:pt x="1" y="3"/>
                      <a:pt x="1" y="1"/>
                    </a:cubicBezTo>
                    <a:cubicBezTo>
                      <a:pt x="2" y="0"/>
                      <a:pt x="3" y="0"/>
                      <a:pt x="4" y="0"/>
                    </a:cubicBezTo>
                    <a:cubicBezTo>
                      <a:pt x="5" y="0"/>
                      <a:pt x="6" y="2"/>
                      <a:pt x="5" y="3"/>
                    </a:cubicBezTo>
                    <a:cubicBezTo>
                      <a:pt x="4" y="4"/>
                      <a:pt x="4" y="6"/>
                      <a:pt x="4" y="7"/>
                    </a:cubicBezTo>
                    <a:cubicBezTo>
                      <a:pt x="4" y="14"/>
                      <a:pt x="10" y="19"/>
                      <a:pt x="16" y="19"/>
                    </a:cubicBezTo>
                    <a:cubicBezTo>
                      <a:pt x="23" y="19"/>
                      <a:pt x="28" y="14"/>
                      <a:pt x="28" y="7"/>
                    </a:cubicBezTo>
                    <a:cubicBezTo>
                      <a:pt x="28" y="6"/>
                      <a:pt x="29" y="5"/>
                      <a:pt x="30" y="5"/>
                    </a:cubicBezTo>
                    <a:cubicBezTo>
                      <a:pt x="31" y="5"/>
                      <a:pt x="32" y="6"/>
                      <a:pt x="32" y="7"/>
                    </a:cubicBezTo>
                    <a:cubicBezTo>
                      <a:pt x="32" y="16"/>
                      <a:pt x="25" y="23"/>
                      <a:pt x="16"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2">
                <a:extLst>
                  <a:ext uri="{FF2B5EF4-FFF2-40B4-BE49-F238E27FC236}">
                    <a16:creationId xmlns:a16="http://schemas.microsoft.com/office/drawing/2014/main" id="{64832418-FFEB-2D7F-0C37-7AD443D63F83}"/>
                  </a:ext>
                </a:extLst>
              </p:cNvPr>
              <p:cNvSpPr>
                <a:spLocks/>
              </p:cNvSpPr>
              <p:nvPr/>
            </p:nvSpPr>
            <p:spPr bwMode="auto">
              <a:xfrm>
                <a:off x="3343275" y="4651376"/>
                <a:ext cx="120650" cy="87313"/>
              </a:xfrm>
              <a:custGeom>
                <a:avLst/>
                <a:gdLst>
                  <a:gd name="T0" fmla="*/ 3 w 32"/>
                  <a:gd name="T1" fmla="*/ 23 h 23"/>
                  <a:gd name="T2" fmla="*/ 1 w 32"/>
                  <a:gd name="T3" fmla="*/ 22 h 23"/>
                  <a:gd name="T4" fmla="*/ 0 w 32"/>
                  <a:gd name="T5" fmla="*/ 16 h 23"/>
                  <a:gd name="T6" fmla="*/ 16 w 32"/>
                  <a:gd name="T7" fmla="*/ 0 h 23"/>
                  <a:gd name="T8" fmla="*/ 32 w 32"/>
                  <a:gd name="T9" fmla="*/ 16 h 23"/>
                  <a:gd name="T10" fmla="*/ 30 w 32"/>
                  <a:gd name="T11" fmla="*/ 18 h 23"/>
                  <a:gd name="T12" fmla="*/ 28 w 32"/>
                  <a:gd name="T13" fmla="*/ 16 h 23"/>
                  <a:gd name="T14" fmla="*/ 16 w 32"/>
                  <a:gd name="T15" fmla="*/ 4 h 23"/>
                  <a:gd name="T16" fmla="*/ 4 w 32"/>
                  <a:gd name="T17" fmla="*/ 16 h 23"/>
                  <a:gd name="T18" fmla="*/ 5 w 32"/>
                  <a:gd name="T19" fmla="*/ 21 h 23"/>
                  <a:gd name="T20" fmla="*/ 4 w 32"/>
                  <a:gd name="T21" fmla="*/ 23 h 23"/>
                  <a:gd name="T22" fmla="*/ 3 w 32"/>
                  <a:gd name="T23"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23">
                    <a:moveTo>
                      <a:pt x="3" y="23"/>
                    </a:moveTo>
                    <a:cubicBezTo>
                      <a:pt x="2" y="23"/>
                      <a:pt x="2" y="23"/>
                      <a:pt x="1" y="22"/>
                    </a:cubicBezTo>
                    <a:cubicBezTo>
                      <a:pt x="1" y="20"/>
                      <a:pt x="0" y="18"/>
                      <a:pt x="0" y="16"/>
                    </a:cubicBezTo>
                    <a:cubicBezTo>
                      <a:pt x="0" y="7"/>
                      <a:pt x="7" y="0"/>
                      <a:pt x="16" y="0"/>
                    </a:cubicBezTo>
                    <a:cubicBezTo>
                      <a:pt x="25" y="0"/>
                      <a:pt x="32" y="7"/>
                      <a:pt x="32" y="16"/>
                    </a:cubicBezTo>
                    <a:cubicBezTo>
                      <a:pt x="32" y="17"/>
                      <a:pt x="31" y="18"/>
                      <a:pt x="30" y="18"/>
                    </a:cubicBezTo>
                    <a:cubicBezTo>
                      <a:pt x="29" y="18"/>
                      <a:pt x="28" y="17"/>
                      <a:pt x="28" y="16"/>
                    </a:cubicBezTo>
                    <a:cubicBezTo>
                      <a:pt x="28" y="9"/>
                      <a:pt x="23" y="4"/>
                      <a:pt x="16" y="4"/>
                    </a:cubicBezTo>
                    <a:cubicBezTo>
                      <a:pt x="10" y="4"/>
                      <a:pt x="4" y="9"/>
                      <a:pt x="4" y="16"/>
                    </a:cubicBezTo>
                    <a:cubicBezTo>
                      <a:pt x="4" y="17"/>
                      <a:pt x="4" y="19"/>
                      <a:pt x="5" y="21"/>
                    </a:cubicBezTo>
                    <a:cubicBezTo>
                      <a:pt x="6" y="22"/>
                      <a:pt x="5" y="23"/>
                      <a:pt x="4" y="23"/>
                    </a:cubicBezTo>
                    <a:cubicBezTo>
                      <a:pt x="4" y="23"/>
                      <a:pt x="4" y="23"/>
                      <a:pt x="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3">
                <a:extLst>
                  <a:ext uri="{FF2B5EF4-FFF2-40B4-BE49-F238E27FC236}">
                    <a16:creationId xmlns:a16="http://schemas.microsoft.com/office/drawing/2014/main" id="{9E8D7C44-4C54-C2C2-B5F4-9D9A3CB45076}"/>
                  </a:ext>
                </a:extLst>
              </p:cNvPr>
              <p:cNvSpPr>
                <a:spLocks/>
              </p:cNvSpPr>
              <p:nvPr/>
            </p:nvSpPr>
            <p:spPr bwMode="auto">
              <a:xfrm>
                <a:off x="3240088" y="4697413"/>
                <a:ext cx="117475" cy="180975"/>
              </a:xfrm>
              <a:custGeom>
                <a:avLst/>
                <a:gdLst>
                  <a:gd name="T0" fmla="*/ 6 w 31"/>
                  <a:gd name="T1" fmla="*/ 48 h 48"/>
                  <a:gd name="T2" fmla="*/ 5 w 31"/>
                  <a:gd name="T3" fmla="*/ 47 h 48"/>
                  <a:gd name="T4" fmla="*/ 0 w 31"/>
                  <a:gd name="T5" fmla="*/ 33 h 48"/>
                  <a:gd name="T6" fmla="*/ 8 w 31"/>
                  <a:gd name="T7" fmla="*/ 11 h 48"/>
                  <a:gd name="T8" fmla="*/ 28 w 31"/>
                  <a:gd name="T9" fmla="*/ 0 h 48"/>
                  <a:gd name="T10" fmla="*/ 31 w 31"/>
                  <a:gd name="T11" fmla="*/ 2 h 48"/>
                  <a:gd name="T12" fmla="*/ 29 w 31"/>
                  <a:gd name="T13" fmla="*/ 4 h 48"/>
                  <a:gd name="T14" fmla="*/ 4 w 31"/>
                  <a:gd name="T15" fmla="*/ 33 h 48"/>
                  <a:gd name="T16" fmla="*/ 8 w 31"/>
                  <a:gd name="T17" fmla="*/ 45 h 48"/>
                  <a:gd name="T18" fmla="*/ 7 w 31"/>
                  <a:gd name="T19" fmla="*/ 47 h 48"/>
                  <a:gd name="T20" fmla="*/ 6 w 31"/>
                  <a:gd name="T2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48">
                    <a:moveTo>
                      <a:pt x="6" y="48"/>
                    </a:moveTo>
                    <a:cubicBezTo>
                      <a:pt x="6" y="48"/>
                      <a:pt x="5" y="47"/>
                      <a:pt x="5" y="47"/>
                    </a:cubicBezTo>
                    <a:cubicBezTo>
                      <a:pt x="2" y="43"/>
                      <a:pt x="1" y="38"/>
                      <a:pt x="0" y="33"/>
                    </a:cubicBezTo>
                    <a:cubicBezTo>
                      <a:pt x="0" y="25"/>
                      <a:pt x="2" y="17"/>
                      <a:pt x="8" y="11"/>
                    </a:cubicBezTo>
                    <a:cubicBezTo>
                      <a:pt x="13" y="4"/>
                      <a:pt x="20" y="1"/>
                      <a:pt x="28" y="0"/>
                    </a:cubicBezTo>
                    <a:cubicBezTo>
                      <a:pt x="30" y="0"/>
                      <a:pt x="31" y="1"/>
                      <a:pt x="31" y="2"/>
                    </a:cubicBezTo>
                    <a:cubicBezTo>
                      <a:pt x="31" y="3"/>
                      <a:pt x="30" y="4"/>
                      <a:pt x="29" y="4"/>
                    </a:cubicBezTo>
                    <a:cubicBezTo>
                      <a:pt x="14" y="5"/>
                      <a:pt x="3" y="18"/>
                      <a:pt x="4" y="33"/>
                    </a:cubicBezTo>
                    <a:cubicBezTo>
                      <a:pt x="4" y="37"/>
                      <a:pt x="6" y="41"/>
                      <a:pt x="8" y="45"/>
                    </a:cubicBezTo>
                    <a:cubicBezTo>
                      <a:pt x="9" y="46"/>
                      <a:pt x="8" y="47"/>
                      <a:pt x="7" y="47"/>
                    </a:cubicBezTo>
                    <a:cubicBezTo>
                      <a:pt x="7" y="48"/>
                      <a:pt x="7" y="48"/>
                      <a:pt x="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4">
                <a:extLst>
                  <a:ext uri="{FF2B5EF4-FFF2-40B4-BE49-F238E27FC236}">
                    <a16:creationId xmlns:a16="http://schemas.microsoft.com/office/drawing/2014/main" id="{6EB614D5-C088-1ECB-FC4C-45EA81C3BF2F}"/>
                  </a:ext>
                </a:extLst>
              </p:cNvPr>
              <p:cNvSpPr>
                <a:spLocks/>
              </p:cNvSpPr>
              <p:nvPr/>
            </p:nvSpPr>
            <p:spPr bwMode="auto">
              <a:xfrm>
                <a:off x="3267075" y="4938713"/>
                <a:ext cx="90488" cy="106363"/>
              </a:xfrm>
              <a:custGeom>
                <a:avLst/>
                <a:gdLst>
                  <a:gd name="T0" fmla="*/ 21 w 24"/>
                  <a:gd name="T1" fmla="*/ 28 h 28"/>
                  <a:gd name="T2" fmla="*/ 13 w 24"/>
                  <a:gd name="T3" fmla="*/ 26 h 28"/>
                  <a:gd name="T4" fmla="*/ 4 w 24"/>
                  <a:gd name="T5" fmla="*/ 1 h 28"/>
                  <a:gd name="T6" fmla="*/ 7 w 24"/>
                  <a:gd name="T7" fmla="*/ 0 h 28"/>
                  <a:gd name="T8" fmla="*/ 8 w 24"/>
                  <a:gd name="T9" fmla="*/ 3 h 28"/>
                  <a:gd name="T10" fmla="*/ 15 w 24"/>
                  <a:gd name="T11" fmla="*/ 23 h 28"/>
                  <a:gd name="T12" fmla="*/ 22 w 24"/>
                  <a:gd name="T13" fmla="*/ 24 h 28"/>
                  <a:gd name="T14" fmla="*/ 24 w 24"/>
                  <a:gd name="T15" fmla="*/ 26 h 28"/>
                  <a:gd name="T16" fmla="*/ 22 w 24"/>
                  <a:gd name="T17" fmla="*/ 28 h 28"/>
                  <a:gd name="T18" fmla="*/ 21 w 24"/>
                  <a:gd name="T19"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8">
                    <a:moveTo>
                      <a:pt x="21" y="28"/>
                    </a:moveTo>
                    <a:cubicBezTo>
                      <a:pt x="18" y="28"/>
                      <a:pt x="16" y="28"/>
                      <a:pt x="13" y="26"/>
                    </a:cubicBezTo>
                    <a:cubicBezTo>
                      <a:pt x="4" y="22"/>
                      <a:pt x="0" y="11"/>
                      <a:pt x="4" y="1"/>
                    </a:cubicBezTo>
                    <a:cubicBezTo>
                      <a:pt x="5" y="0"/>
                      <a:pt x="6" y="0"/>
                      <a:pt x="7" y="0"/>
                    </a:cubicBezTo>
                    <a:cubicBezTo>
                      <a:pt x="8" y="1"/>
                      <a:pt x="8" y="2"/>
                      <a:pt x="8" y="3"/>
                    </a:cubicBezTo>
                    <a:cubicBezTo>
                      <a:pt x="4" y="10"/>
                      <a:pt x="7" y="19"/>
                      <a:pt x="15" y="23"/>
                    </a:cubicBezTo>
                    <a:cubicBezTo>
                      <a:pt x="17" y="24"/>
                      <a:pt x="19" y="24"/>
                      <a:pt x="22" y="24"/>
                    </a:cubicBezTo>
                    <a:cubicBezTo>
                      <a:pt x="23" y="24"/>
                      <a:pt x="24" y="25"/>
                      <a:pt x="24" y="26"/>
                    </a:cubicBezTo>
                    <a:cubicBezTo>
                      <a:pt x="24" y="27"/>
                      <a:pt x="23" y="28"/>
                      <a:pt x="22" y="28"/>
                    </a:cubicBezTo>
                    <a:cubicBezTo>
                      <a:pt x="22" y="28"/>
                      <a:pt x="21" y="28"/>
                      <a:pt x="21"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5">
                <a:extLst>
                  <a:ext uri="{FF2B5EF4-FFF2-40B4-BE49-F238E27FC236}">
                    <a16:creationId xmlns:a16="http://schemas.microsoft.com/office/drawing/2014/main" id="{B0F0DB13-8321-0EB1-E88C-D6A184C68A47}"/>
                  </a:ext>
                </a:extLst>
              </p:cNvPr>
              <p:cNvSpPr>
                <a:spLocks/>
              </p:cNvSpPr>
              <p:nvPr/>
            </p:nvSpPr>
            <p:spPr bwMode="auto">
              <a:xfrm>
                <a:off x="3240088" y="4837113"/>
                <a:ext cx="49213" cy="139700"/>
              </a:xfrm>
              <a:custGeom>
                <a:avLst/>
                <a:gdLst>
                  <a:gd name="T0" fmla="*/ 11 w 13"/>
                  <a:gd name="T1" fmla="*/ 37 h 37"/>
                  <a:gd name="T2" fmla="*/ 10 w 13"/>
                  <a:gd name="T3" fmla="*/ 37 h 37"/>
                  <a:gd name="T4" fmla="*/ 10 w 13"/>
                  <a:gd name="T5" fmla="*/ 1 h 37"/>
                  <a:gd name="T6" fmla="*/ 12 w 13"/>
                  <a:gd name="T7" fmla="*/ 1 h 37"/>
                  <a:gd name="T8" fmla="*/ 12 w 13"/>
                  <a:gd name="T9" fmla="*/ 4 h 37"/>
                  <a:gd name="T10" fmla="*/ 12 w 13"/>
                  <a:gd name="T11" fmla="*/ 34 h 37"/>
                  <a:gd name="T12" fmla="*/ 12 w 13"/>
                  <a:gd name="T13" fmla="*/ 37 h 37"/>
                  <a:gd name="T14" fmla="*/ 11 w 13"/>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37">
                    <a:moveTo>
                      <a:pt x="11" y="37"/>
                    </a:moveTo>
                    <a:cubicBezTo>
                      <a:pt x="10" y="37"/>
                      <a:pt x="10" y="37"/>
                      <a:pt x="10" y="37"/>
                    </a:cubicBezTo>
                    <a:cubicBezTo>
                      <a:pt x="0" y="27"/>
                      <a:pt x="0" y="11"/>
                      <a:pt x="10" y="1"/>
                    </a:cubicBezTo>
                    <a:cubicBezTo>
                      <a:pt x="10" y="0"/>
                      <a:pt x="12" y="0"/>
                      <a:pt x="12" y="1"/>
                    </a:cubicBezTo>
                    <a:cubicBezTo>
                      <a:pt x="13" y="2"/>
                      <a:pt x="13" y="3"/>
                      <a:pt x="12" y="4"/>
                    </a:cubicBezTo>
                    <a:cubicBezTo>
                      <a:pt x="4" y="12"/>
                      <a:pt x="4" y="26"/>
                      <a:pt x="12" y="34"/>
                    </a:cubicBezTo>
                    <a:cubicBezTo>
                      <a:pt x="13" y="35"/>
                      <a:pt x="13" y="36"/>
                      <a:pt x="12" y="37"/>
                    </a:cubicBezTo>
                    <a:cubicBezTo>
                      <a:pt x="12" y="37"/>
                      <a:pt x="11" y="37"/>
                      <a:pt x="11"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6">
                <a:extLst>
                  <a:ext uri="{FF2B5EF4-FFF2-40B4-BE49-F238E27FC236}">
                    <a16:creationId xmlns:a16="http://schemas.microsoft.com/office/drawing/2014/main" id="{7DABE572-2EE2-DFE3-5D1A-C432875FCB6C}"/>
                  </a:ext>
                </a:extLst>
              </p:cNvPr>
              <p:cNvSpPr>
                <a:spLocks/>
              </p:cNvSpPr>
              <p:nvPr/>
            </p:nvSpPr>
            <p:spPr bwMode="auto">
              <a:xfrm>
                <a:off x="3448050" y="4705351"/>
                <a:ext cx="15875" cy="328613"/>
              </a:xfrm>
              <a:custGeom>
                <a:avLst/>
                <a:gdLst>
                  <a:gd name="T0" fmla="*/ 2 w 4"/>
                  <a:gd name="T1" fmla="*/ 87 h 87"/>
                  <a:gd name="T2" fmla="*/ 0 w 4"/>
                  <a:gd name="T3" fmla="*/ 85 h 87"/>
                  <a:gd name="T4" fmla="*/ 0 w 4"/>
                  <a:gd name="T5" fmla="*/ 2 h 87"/>
                  <a:gd name="T6" fmla="*/ 2 w 4"/>
                  <a:gd name="T7" fmla="*/ 0 h 87"/>
                  <a:gd name="T8" fmla="*/ 4 w 4"/>
                  <a:gd name="T9" fmla="*/ 2 h 87"/>
                  <a:gd name="T10" fmla="*/ 4 w 4"/>
                  <a:gd name="T11" fmla="*/ 85 h 87"/>
                  <a:gd name="T12" fmla="*/ 2 w 4"/>
                  <a:gd name="T13" fmla="*/ 87 h 87"/>
                </a:gdLst>
                <a:ahLst/>
                <a:cxnLst>
                  <a:cxn ang="0">
                    <a:pos x="T0" y="T1"/>
                  </a:cxn>
                  <a:cxn ang="0">
                    <a:pos x="T2" y="T3"/>
                  </a:cxn>
                  <a:cxn ang="0">
                    <a:pos x="T4" y="T5"/>
                  </a:cxn>
                  <a:cxn ang="0">
                    <a:pos x="T6" y="T7"/>
                  </a:cxn>
                  <a:cxn ang="0">
                    <a:pos x="T8" y="T9"/>
                  </a:cxn>
                  <a:cxn ang="0">
                    <a:pos x="T10" y="T11"/>
                  </a:cxn>
                  <a:cxn ang="0">
                    <a:pos x="T12" y="T13"/>
                  </a:cxn>
                </a:cxnLst>
                <a:rect l="0" t="0" r="r" b="b"/>
                <a:pathLst>
                  <a:path w="4" h="87">
                    <a:moveTo>
                      <a:pt x="2" y="87"/>
                    </a:moveTo>
                    <a:cubicBezTo>
                      <a:pt x="1" y="87"/>
                      <a:pt x="0" y="86"/>
                      <a:pt x="0" y="85"/>
                    </a:cubicBezTo>
                    <a:cubicBezTo>
                      <a:pt x="0" y="2"/>
                      <a:pt x="0" y="2"/>
                      <a:pt x="0" y="2"/>
                    </a:cubicBezTo>
                    <a:cubicBezTo>
                      <a:pt x="0" y="0"/>
                      <a:pt x="1" y="0"/>
                      <a:pt x="2" y="0"/>
                    </a:cubicBezTo>
                    <a:cubicBezTo>
                      <a:pt x="3" y="0"/>
                      <a:pt x="4" y="0"/>
                      <a:pt x="4" y="2"/>
                    </a:cubicBezTo>
                    <a:cubicBezTo>
                      <a:pt x="4" y="85"/>
                      <a:pt x="4" y="85"/>
                      <a:pt x="4" y="85"/>
                    </a:cubicBezTo>
                    <a:cubicBezTo>
                      <a:pt x="4" y="86"/>
                      <a:pt x="3" y="87"/>
                      <a:pt x="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7">
                <a:extLst>
                  <a:ext uri="{FF2B5EF4-FFF2-40B4-BE49-F238E27FC236}">
                    <a16:creationId xmlns:a16="http://schemas.microsoft.com/office/drawing/2014/main" id="{2ED1C04B-7888-1D00-E0B1-868C323F93E0}"/>
                  </a:ext>
                </a:extLst>
              </p:cNvPr>
              <p:cNvSpPr>
                <a:spLocks/>
              </p:cNvSpPr>
              <p:nvPr/>
            </p:nvSpPr>
            <p:spPr bwMode="auto">
              <a:xfrm>
                <a:off x="3327400" y="4878388"/>
                <a:ext cx="38100" cy="98425"/>
              </a:xfrm>
              <a:custGeom>
                <a:avLst/>
                <a:gdLst>
                  <a:gd name="T0" fmla="*/ 8 w 10"/>
                  <a:gd name="T1" fmla="*/ 26 h 26"/>
                  <a:gd name="T2" fmla="*/ 7 w 10"/>
                  <a:gd name="T3" fmla="*/ 26 h 26"/>
                  <a:gd name="T4" fmla="*/ 7 w 10"/>
                  <a:gd name="T5" fmla="*/ 1 h 26"/>
                  <a:gd name="T6" fmla="*/ 9 w 10"/>
                  <a:gd name="T7" fmla="*/ 1 h 26"/>
                  <a:gd name="T8" fmla="*/ 9 w 10"/>
                  <a:gd name="T9" fmla="*/ 4 h 26"/>
                  <a:gd name="T10" fmla="*/ 9 w 10"/>
                  <a:gd name="T11" fmla="*/ 23 h 26"/>
                  <a:gd name="T12" fmla="*/ 9 w 10"/>
                  <a:gd name="T13" fmla="*/ 26 h 26"/>
                  <a:gd name="T14" fmla="*/ 8 w 10"/>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26">
                    <a:moveTo>
                      <a:pt x="8" y="26"/>
                    </a:moveTo>
                    <a:cubicBezTo>
                      <a:pt x="8" y="26"/>
                      <a:pt x="7" y="26"/>
                      <a:pt x="7" y="26"/>
                    </a:cubicBezTo>
                    <a:cubicBezTo>
                      <a:pt x="0" y="19"/>
                      <a:pt x="0" y="8"/>
                      <a:pt x="7" y="1"/>
                    </a:cubicBezTo>
                    <a:cubicBezTo>
                      <a:pt x="7" y="0"/>
                      <a:pt x="9" y="0"/>
                      <a:pt x="9" y="1"/>
                    </a:cubicBezTo>
                    <a:cubicBezTo>
                      <a:pt x="10" y="2"/>
                      <a:pt x="10" y="3"/>
                      <a:pt x="9" y="4"/>
                    </a:cubicBezTo>
                    <a:cubicBezTo>
                      <a:pt x="4" y="9"/>
                      <a:pt x="4" y="18"/>
                      <a:pt x="9" y="23"/>
                    </a:cubicBezTo>
                    <a:cubicBezTo>
                      <a:pt x="10" y="24"/>
                      <a:pt x="10" y="25"/>
                      <a:pt x="9" y="26"/>
                    </a:cubicBezTo>
                    <a:cubicBezTo>
                      <a:pt x="9" y="26"/>
                      <a:pt x="9" y="26"/>
                      <a:pt x="8"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68">
                <a:extLst>
                  <a:ext uri="{FF2B5EF4-FFF2-40B4-BE49-F238E27FC236}">
                    <a16:creationId xmlns:a16="http://schemas.microsoft.com/office/drawing/2014/main" id="{7EBA9413-E026-5A4D-F400-CF5FF5F7D23C}"/>
                  </a:ext>
                </a:extLst>
              </p:cNvPr>
              <p:cNvSpPr>
                <a:spLocks/>
              </p:cNvSpPr>
              <p:nvPr/>
            </p:nvSpPr>
            <p:spPr bwMode="auto">
              <a:xfrm>
                <a:off x="3305175" y="4883151"/>
                <a:ext cx="41275" cy="52388"/>
              </a:xfrm>
              <a:custGeom>
                <a:avLst/>
                <a:gdLst>
                  <a:gd name="T0" fmla="*/ 8 w 11"/>
                  <a:gd name="T1" fmla="*/ 14 h 14"/>
                  <a:gd name="T2" fmla="*/ 8 w 11"/>
                  <a:gd name="T3" fmla="*/ 14 h 14"/>
                  <a:gd name="T4" fmla="*/ 0 w 11"/>
                  <a:gd name="T5" fmla="*/ 2 h 14"/>
                  <a:gd name="T6" fmla="*/ 2 w 11"/>
                  <a:gd name="T7" fmla="*/ 0 h 14"/>
                  <a:gd name="T8" fmla="*/ 4 w 11"/>
                  <a:gd name="T9" fmla="*/ 2 h 14"/>
                  <a:gd name="T10" fmla="*/ 9 w 11"/>
                  <a:gd name="T11" fmla="*/ 10 h 14"/>
                  <a:gd name="T12" fmla="*/ 10 w 11"/>
                  <a:gd name="T13" fmla="*/ 13 h 14"/>
                  <a:gd name="T14" fmla="*/ 8 w 11"/>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4">
                    <a:moveTo>
                      <a:pt x="8" y="14"/>
                    </a:moveTo>
                    <a:cubicBezTo>
                      <a:pt x="8" y="14"/>
                      <a:pt x="8" y="14"/>
                      <a:pt x="8" y="14"/>
                    </a:cubicBezTo>
                    <a:cubicBezTo>
                      <a:pt x="8" y="14"/>
                      <a:pt x="1" y="13"/>
                      <a:pt x="0" y="2"/>
                    </a:cubicBezTo>
                    <a:cubicBezTo>
                      <a:pt x="0" y="1"/>
                      <a:pt x="0" y="0"/>
                      <a:pt x="2" y="0"/>
                    </a:cubicBezTo>
                    <a:cubicBezTo>
                      <a:pt x="3" y="0"/>
                      <a:pt x="4" y="0"/>
                      <a:pt x="4" y="2"/>
                    </a:cubicBezTo>
                    <a:cubicBezTo>
                      <a:pt x="5" y="9"/>
                      <a:pt x="9" y="10"/>
                      <a:pt x="9" y="10"/>
                    </a:cubicBezTo>
                    <a:cubicBezTo>
                      <a:pt x="10" y="11"/>
                      <a:pt x="11" y="12"/>
                      <a:pt x="10" y="13"/>
                    </a:cubicBezTo>
                    <a:cubicBezTo>
                      <a:pt x="10" y="14"/>
                      <a:pt x="9" y="14"/>
                      <a:pt x="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9">
                <a:extLst>
                  <a:ext uri="{FF2B5EF4-FFF2-40B4-BE49-F238E27FC236}">
                    <a16:creationId xmlns:a16="http://schemas.microsoft.com/office/drawing/2014/main" id="{19D08EE7-DA52-60DE-1EC3-57CF5B5411A3}"/>
                  </a:ext>
                </a:extLst>
              </p:cNvPr>
              <p:cNvSpPr>
                <a:spLocks/>
              </p:cNvSpPr>
              <p:nvPr/>
            </p:nvSpPr>
            <p:spPr bwMode="auto">
              <a:xfrm>
                <a:off x="3384550" y="4727576"/>
                <a:ext cx="41275" cy="68263"/>
              </a:xfrm>
              <a:custGeom>
                <a:avLst/>
                <a:gdLst>
                  <a:gd name="T0" fmla="*/ 4 w 11"/>
                  <a:gd name="T1" fmla="*/ 18 h 18"/>
                  <a:gd name="T2" fmla="*/ 2 w 11"/>
                  <a:gd name="T3" fmla="*/ 17 h 18"/>
                  <a:gd name="T4" fmla="*/ 1 w 11"/>
                  <a:gd name="T5" fmla="*/ 8 h 18"/>
                  <a:gd name="T6" fmla="*/ 7 w 11"/>
                  <a:gd name="T7" fmla="*/ 1 h 18"/>
                  <a:gd name="T8" fmla="*/ 10 w 11"/>
                  <a:gd name="T9" fmla="*/ 1 h 18"/>
                  <a:gd name="T10" fmla="*/ 9 w 11"/>
                  <a:gd name="T11" fmla="*/ 4 h 18"/>
                  <a:gd name="T12" fmla="*/ 5 w 11"/>
                  <a:gd name="T13" fmla="*/ 9 h 18"/>
                  <a:gd name="T14" fmla="*/ 6 w 11"/>
                  <a:gd name="T15" fmla="*/ 15 h 18"/>
                  <a:gd name="T16" fmla="*/ 5 w 11"/>
                  <a:gd name="T17" fmla="*/ 18 h 18"/>
                  <a:gd name="T18" fmla="*/ 4 w 11"/>
                  <a:gd name="T1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18">
                    <a:moveTo>
                      <a:pt x="4" y="18"/>
                    </a:moveTo>
                    <a:cubicBezTo>
                      <a:pt x="3" y="18"/>
                      <a:pt x="3" y="18"/>
                      <a:pt x="2" y="17"/>
                    </a:cubicBezTo>
                    <a:cubicBezTo>
                      <a:pt x="1" y="14"/>
                      <a:pt x="0" y="11"/>
                      <a:pt x="1" y="8"/>
                    </a:cubicBezTo>
                    <a:cubicBezTo>
                      <a:pt x="2" y="5"/>
                      <a:pt x="5" y="2"/>
                      <a:pt x="7" y="1"/>
                    </a:cubicBezTo>
                    <a:cubicBezTo>
                      <a:pt x="8" y="0"/>
                      <a:pt x="10" y="0"/>
                      <a:pt x="10" y="1"/>
                    </a:cubicBezTo>
                    <a:cubicBezTo>
                      <a:pt x="11" y="2"/>
                      <a:pt x="10" y="4"/>
                      <a:pt x="9" y="4"/>
                    </a:cubicBezTo>
                    <a:cubicBezTo>
                      <a:pt x="7" y="5"/>
                      <a:pt x="6" y="7"/>
                      <a:pt x="5" y="9"/>
                    </a:cubicBezTo>
                    <a:cubicBezTo>
                      <a:pt x="5" y="11"/>
                      <a:pt x="5" y="13"/>
                      <a:pt x="6" y="15"/>
                    </a:cubicBezTo>
                    <a:cubicBezTo>
                      <a:pt x="6" y="16"/>
                      <a:pt x="6" y="18"/>
                      <a:pt x="5" y="18"/>
                    </a:cubicBezTo>
                    <a:cubicBezTo>
                      <a:pt x="5" y="18"/>
                      <a:pt x="4" y="18"/>
                      <a:pt x="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70">
                <a:extLst>
                  <a:ext uri="{FF2B5EF4-FFF2-40B4-BE49-F238E27FC236}">
                    <a16:creationId xmlns:a16="http://schemas.microsoft.com/office/drawing/2014/main" id="{1E2FEADA-78BD-68BD-19BA-56A862915CC8}"/>
                  </a:ext>
                </a:extLst>
              </p:cNvPr>
              <p:cNvSpPr>
                <a:spLocks/>
              </p:cNvSpPr>
              <p:nvPr/>
            </p:nvSpPr>
            <p:spPr bwMode="auto">
              <a:xfrm>
                <a:off x="3360738" y="4749801"/>
                <a:ext cx="42863" cy="38100"/>
              </a:xfrm>
              <a:custGeom>
                <a:avLst/>
                <a:gdLst>
                  <a:gd name="T0" fmla="*/ 2 w 11"/>
                  <a:gd name="T1" fmla="*/ 10 h 10"/>
                  <a:gd name="T2" fmla="*/ 2 w 11"/>
                  <a:gd name="T3" fmla="*/ 10 h 10"/>
                  <a:gd name="T4" fmla="*/ 1 w 11"/>
                  <a:gd name="T5" fmla="*/ 7 h 10"/>
                  <a:gd name="T6" fmla="*/ 9 w 11"/>
                  <a:gd name="T7" fmla="*/ 0 h 10"/>
                  <a:gd name="T8" fmla="*/ 11 w 11"/>
                  <a:gd name="T9" fmla="*/ 2 h 10"/>
                  <a:gd name="T10" fmla="*/ 8 w 11"/>
                  <a:gd name="T11" fmla="*/ 4 h 10"/>
                  <a:gd name="T12" fmla="*/ 4 w 11"/>
                  <a:gd name="T13" fmla="*/ 9 h 10"/>
                  <a:gd name="T14" fmla="*/ 2 w 11"/>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0">
                    <a:moveTo>
                      <a:pt x="2" y="10"/>
                    </a:moveTo>
                    <a:cubicBezTo>
                      <a:pt x="2" y="10"/>
                      <a:pt x="2" y="10"/>
                      <a:pt x="2" y="10"/>
                    </a:cubicBezTo>
                    <a:cubicBezTo>
                      <a:pt x="1" y="9"/>
                      <a:pt x="0" y="8"/>
                      <a:pt x="1" y="7"/>
                    </a:cubicBezTo>
                    <a:cubicBezTo>
                      <a:pt x="4" y="0"/>
                      <a:pt x="9" y="0"/>
                      <a:pt x="9" y="0"/>
                    </a:cubicBezTo>
                    <a:cubicBezTo>
                      <a:pt x="10" y="0"/>
                      <a:pt x="11" y="1"/>
                      <a:pt x="11" y="2"/>
                    </a:cubicBezTo>
                    <a:cubicBezTo>
                      <a:pt x="11" y="4"/>
                      <a:pt x="10" y="4"/>
                      <a:pt x="8" y="4"/>
                    </a:cubicBezTo>
                    <a:cubicBezTo>
                      <a:pt x="8" y="4"/>
                      <a:pt x="6" y="4"/>
                      <a:pt x="4" y="9"/>
                    </a:cubicBezTo>
                    <a:cubicBezTo>
                      <a:pt x="4" y="9"/>
                      <a:pt x="3" y="10"/>
                      <a:pt x="2"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71">
                <a:extLst>
                  <a:ext uri="{FF2B5EF4-FFF2-40B4-BE49-F238E27FC236}">
                    <a16:creationId xmlns:a16="http://schemas.microsoft.com/office/drawing/2014/main" id="{B37EA71C-D9C7-F072-53FF-7C9F6E552EEE}"/>
                  </a:ext>
                </a:extLst>
              </p:cNvPr>
              <p:cNvSpPr>
                <a:spLocks/>
              </p:cNvSpPr>
              <p:nvPr/>
            </p:nvSpPr>
            <p:spPr bwMode="auto">
              <a:xfrm>
                <a:off x="3373438" y="4826001"/>
                <a:ext cx="41275" cy="60325"/>
              </a:xfrm>
              <a:custGeom>
                <a:avLst/>
                <a:gdLst>
                  <a:gd name="T0" fmla="*/ 4 w 11"/>
                  <a:gd name="T1" fmla="*/ 16 h 16"/>
                  <a:gd name="T2" fmla="*/ 3 w 11"/>
                  <a:gd name="T3" fmla="*/ 15 h 16"/>
                  <a:gd name="T4" fmla="*/ 7 w 11"/>
                  <a:gd name="T5" fmla="*/ 0 h 16"/>
                  <a:gd name="T6" fmla="*/ 10 w 11"/>
                  <a:gd name="T7" fmla="*/ 1 h 16"/>
                  <a:gd name="T8" fmla="*/ 9 w 11"/>
                  <a:gd name="T9" fmla="*/ 4 h 16"/>
                  <a:gd name="T10" fmla="*/ 6 w 11"/>
                  <a:gd name="T11" fmla="*/ 13 h 16"/>
                  <a:gd name="T12" fmla="*/ 5 w 11"/>
                  <a:gd name="T13" fmla="*/ 15 h 16"/>
                  <a:gd name="T14" fmla="*/ 4 w 11"/>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6">
                    <a:moveTo>
                      <a:pt x="4" y="16"/>
                    </a:moveTo>
                    <a:cubicBezTo>
                      <a:pt x="4" y="16"/>
                      <a:pt x="3" y="15"/>
                      <a:pt x="3" y="15"/>
                    </a:cubicBezTo>
                    <a:cubicBezTo>
                      <a:pt x="1" y="11"/>
                      <a:pt x="0" y="4"/>
                      <a:pt x="7" y="0"/>
                    </a:cubicBezTo>
                    <a:cubicBezTo>
                      <a:pt x="8" y="0"/>
                      <a:pt x="10" y="0"/>
                      <a:pt x="10" y="1"/>
                    </a:cubicBezTo>
                    <a:cubicBezTo>
                      <a:pt x="11" y="2"/>
                      <a:pt x="10" y="3"/>
                      <a:pt x="9" y="4"/>
                    </a:cubicBezTo>
                    <a:cubicBezTo>
                      <a:pt x="3" y="7"/>
                      <a:pt x="6" y="12"/>
                      <a:pt x="6" y="13"/>
                    </a:cubicBezTo>
                    <a:cubicBezTo>
                      <a:pt x="7" y="14"/>
                      <a:pt x="6" y="15"/>
                      <a:pt x="5" y="15"/>
                    </a:cubicBezTo>
                    <a:cubicBezTo>
                      <a:pt x="5" y="16"/>
                      <a:pt x="5" y="16"/>
                      <a:pt x="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72">
                <a:extLst>
                  <a:ext uri="{FF2B5EF4-FFF2-40B4-BE49-F238E27FC236}">
                    <a16:creationId xmlns:a16="http://schemas.microsoft.com/office/drawing/2014/main" id="{0F5EAE2C-0EAB-472B-FF34-E878958B538B}"/>
                  </a:ext>
                </a:extLst>
              </p:cNvPr>
              <p:cNvSpPr>
                <a:spLocks/>
              </p:cNvSpPr>
              <p:nvPr/>
            </p:nvSpPr>
            <p:spPr bwMode="auto">
              <a:xfrm>
                <a:off x="3308350" y="4776788"/>
                <a:ext cx="46038" cy="57150"/>
              </a:xfrm>
              <a:custGeom>
                <a:avLst/>
                <a:gdLst>
                  <a:gd name="T0" fmla="*/ 8 w 12"/>
                  <a:gd name="T1" fmla="*/ 15 h 15"/>
                  <a:gd name="T2" fmla="*/ 7 w 12"/>
                  <a:gd name="T3" fmla="*/ 15 h 15"/>
                  <a:gd name="T4" fmla="*/ 6 w 12"/>
                  <a:gd name="T5" fmla="*/ 13 h 15"/>
                  <a:gd name="T6" fmla="*/ 2 w 12"/>
                  <a:gd name="T7" fmla="*/ 4 h 15"/>
                  <a:gd name="T8" fmla="*/ 1 w 12"/>
                  <a:gd name="T9" fmla="*/ 1 h 15"/>
                  <a:gd name="T10" fmla="*/ 3 w 12"/>
                  <a:gd name="T11" fmla="*/ 0 h 15"/>
                  <a:gd name="T12" fmla="*/ 10 w 12"/>
                  <a:gd name="T13" fmla="*/ 14 h 15"/>
                  <a:gd name="T14" fmla="*/ 8 w 12"/>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5">
                    <a:moveTo>
                      <a:pt x="8" y="15"/>
                    </a:moveTo>
                    <a:cubicBezTo>
                      <a:pt x="8" y="15"/>
                      <a:pt x="8" y="15"/>
                      <a:pt x="7" y="15"/>
                    </a:cubicBezTo>
                    <a:cubicBezTo>
                      <a:pt x="6" y="15"/>
                      <a:pt x="6" y="14"/>
                      <a:pt x="6" y="13"/>
                    </a:cubicBezTo>
                    <a:cubicBezTo>
                      <a:pt x="8" y="6"/>
                      <a:pt x="2" y="4"/>
                      <a:pt x="2" y="4"/>
                    </a:cubicBezTo>
                    <a:cubicBezTo>
                      <a:pt x="1" y="3"/>
                      <a:pt x="0" y="2"/>
                      <a:pt x="1" y="1"/>
                    </a:cubicBezTo>
                    <a:cubicBezTo>
                      <a:pt x="1" y="0"/>
                      <a:pt x="2" y="0"/>
                      <a:pt x="3" y="0"/>
                    </a:cubicBezTo>
                    <a:cubicBezTo>
                      <a:pt x="6" y="1"/>
                      <a:pt x="12" y="5"/>
                      <a:pt x="10" y="14"/>
                    </a:cubicBezTo>
                    <a:cubicBezTo>
                      <a:pt x="10" y="15"/>
                      <a:pt x="9" y="15"/>
                      <a:pt x="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73">
                <a:extLst>
                  <a:ext uri="{FF2B5EF4-FFF2-40B4-BE49-F238E27FC236}">
                    <a16:creationId xmlns:a16="http://schemas.microsoft.com/office/drawing/2014/main" id="{100D093A-09D6-4BAF-1223-8719BE6CCEEF}"/>
                  </a:ext>
                </a:extLst>
              </p:cNvPr>
              <p:cNvSpPr>
                <a:spLocks/>
              </p:cNvSpPr>
              <p:nvPr/>
            </p:nvSpPr>
            <p:spPr bwMode="auto">
              <a:xfrm>
                <a:off x="3384550" y="4946651"/>
                <a:ext cx="36513" cy="30163"/>
              </a:xfrm>
              <a:custGeom>
                <a:avLst/>
                <a:gdLst>
                  <a:gd name="T0" fmla="*/ 8 w 10"/>
                  <a:gd name="T1" fmla="*/ 8 h 8"/>
                  <a:gd name="T2" fmla="*/ 6 w 10"/>
                  <a:gd name="T3" fmla="*/ 7 h 8"/>
                  <a:gd name="T4" fmla="*/ 1 w 10"/>
                  <a:gd name="T5" fmla="*/ 4 h 8"/>
                  <a:gd name="T6" fmla="*/ 0 w 10"/>
                  <a:gd name="T7" fmla="*/ 1 h 8"/>
                  <a:gd name="T8" fmla="*/ 2 w 10"/>
                  <a:gd name="T9" fmla="*/ 0 h 8"/>
                  <a:gd name="T10" fmla="*/ 10 w 10"/>
                  <a:gd name="T11" fmla="*/ 6 h 8"/>
                  <a:gd name="T12" fmla="*/ 9 w 10"/>
                  <a:gd name="T13" fmla="*/ 8 h 8"/>
                  <a:gd name="T14" fmla="*/ 8 w 10"/>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8" y="8"/>
                    </a:moveTo>
                    <a:cubicBezTo>
                      <a:pt x="7" y="8"/>
                      <a:pt x="6" y="8"/>
                      <a:pt x="6" y="7"/>
                    </a:cubicBezTo>
                    <a:cubicBezTo>
                      <a:pt x="6" y="5"/>
                      <a:pt x="3" y="4"/>
                      <a:pt x="1" y="4"/>
                    </a:cubicBezTo>
                    <a:cubicBezTo>
                      <a:pt x="0" y="4"/>
                      <a:pt x="0" y="2"/>
                      <a:pt x="0" y="1"/>
                    </a:cubicBezTo>
                    <a:cubicBezTo>
                      <a:pt x="0" y="0"/>
                      <a:pt x="1" y="0"/>
                      <a:pt x="2" y="0"/>
                    </a:cubicBezTo>
                    <a:cubicBezTo>
                      <a:pt x="3" y="0"/>
                      <a:pt x="9" y="1"/>
                      <a:pt x="10" y="6"/>
                    </a:cubicBezTo>
                    <a:cubicBezTo>
                      <a:pt x="10" y="7"/>
                      <a:pt x="10" y="8"/>
                      <a:pt x="9" y="8"/>
                    </a:cubicBezTo>
                    <a:cubicBezTo>
                      <a:pt x="8" y="8"/>
                      <a:pt x="8" y="8"/>
                      <a:pt x="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1" name="TextBox 80">
              <a:extLst>
                <a:ext uri="{FF2B5EF4-FFF2-40B4-BE49-F238E27FC236}">
                  <a16:creationId xmlns:a16="http://schemas.microsoft.com/office/drawing/2014/main" id="{1E9F616C-5833-640E-3281-D920E77F9749}"/>
                </a:ext>
              </a:extLst>
            </p:cNvPr>
            <p:cNvSpPr txBox="1"/>
            <p:nvPr/>
          </p:nvSpPr>
          <p:spPr>
            <a:xfrm>
              <a:off x="5135063" y="2192549"/>
              <a:ext cx="1634388" cy="787151"/>
            </a:xfrm>
            <a:prstGeom prst="rect">
              <a:avLst/>
            </a:prstGeom>
            <a:noFill/>
          </p:spPr>
          <p:txBody>
            <a:bodyPr wrap="none" rtlCol="0">
              <a:spAutoFit/>
            </a:bodyPr>
            <a:lstStyle/>
            <a:p>
              <a:r>
                <a:rPr lang="en-US" sz="1400" b="1" dirty="0"/>
                <a:t>Intelligent and </a:t>
              </a:r>
            </a:p>
            <a:p>
              <a:r>
                <a:rPr lang="en-US" sz="1400" b="1" dirty="0"/>
                <a:t>programmable </a:t>
              </a:r>
            </a:p>
            <a:p>
              <a:r>
                <a:rPr lang="en-US" sz="1400" b="1" dirty="0"/>
                <a:t>networks</a:t>
              </a:r>
            </a:p>
          </p:txBody>
        </p:sp>
        <p:grpSp>
          <p:nvGrpSpPr>
            <p:cNvPr id="82" name="Group 81">
              <a:extLst>
                <a:ext uri="{FF2B5EF4-FFF2-40B4-BE49-F238E27FC236}">
                  <a16:creationId xmlns:a16="http://schemas.microsoft.com/office/drawing/2014/main" id="{083E0873-1A6B-8099-AF30-264E85E758AC}"/>
                </a:ext>
              </a:extLst>
            </p:cNvPr>
            <p:cNvGrpSpPr/>
            <p:nvPr/>
          </p:nvGrpSpPr>
          <p:grpSpPr>
            <a:xfrm>
              <a:off x="9066459" y="3793402"/>
              <a:ext cx="603709" cy="433387"/>
              <a:chOff x="1149351" y="5799138"/>
              <a:chExt cx="611188" cy="433387"/>
            </a:xfrm>
            <a:solidFill>
              <a:srgbClr val="7030A0"/>
            </a:solidFill>
          </p:grpSpPr>
          <p:sp>
            <p:nvSpPr>
              <p:cNvPr id="83" name="Freeform 314">
                <a:extLst>
                  <a:ext uri="{FF2B5EF4-FFF2-40B4-BE49-F238E27FC236}">
                    <a16:creationId xmlns:a16="http://schemas.microsoft.com/office/drawing/2014/main" id="{3933D61B-6045-D41B-A63B-6F00F7AF206A}"/>
                  </a:ext>
                </a:extLst>
              </p:cNvPr>
              <p:cNvSpPr>
                <a:spLocks noEditPoints="1"/>
              </p:cNvSpPr>
              <p:nvPr/>
            </p:nvSpPr>
            <p:spPr bwMode="auto">
              <a:xfrm>
                <a:off x="1228726" y="5878513"/>
                <a:ext cx="180975" cy="184150"/>
              </a:xfrm>
              <a:custGeom>
                <a:avLst/>
                <a:gdLst>
                  <a:gd name="T0" fmla="*/ 24 w 48"/>
                  <a:gd name="T1" fmla="*/ 49 h 49"/>
                  <a:gd name="T2" fmla="*/ 0 w 48"/>
                  <a:gd name="T3" fmla="*/ 25 h 49"/>
                  <a:gd name="T4" fmla="*/ 24 w 48"/>
                  <a:gd name="T5" fmla="*/ 0 h 49"/>
                  <a:gd name="T6" fmla="*/ 48 w 48"/>
                  <a:gd name="T7" fmla="*/ 25 h 49"/>
                  <a:gd name="T8" fmla="*/ 24 w 48"/>
                  <a:gd name="T9" fmla="*/ 49 h 49"/>
                  <a:gd name="T10" fmla="*/ 24 w 48"/>
                  <a:gd name="T11" fmla="*/ 4 h 49"/>
                  <a:gd name="T12" fmla="*/ 4 w 48"/>
                  <a:gd name="T13" fmla="*/ 25 h 49"/>
                  <a:gd name="T14" fmla="*/ 24 w 48"/>
                  <a:gd name="T15" fmla="*/ 45 h 49"/>
                  <a:gd name="T16" fmla="*/ 44 w 48"/>
                  <a:gd name="T17" fmla="*/ 25 h 49"/>
                  <a:gd name="T18" fmla="*/ 24 w 48"/>
                  <a:gd name="T19" fmla="*/ 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9">
                    <a:moveTo>
                      <a:pt x="24" y="49"/>
                    </a:moveTo>
                    <a:cubicBezTo>
                      <a:pt x="11" y="49"/>
                      <a:pt x="0" y="38"/>
                      <a:pt x="0" y="25"/>
                    </a:cubicBezTo>
                    <a:cubicBezTo>
                      <a:pt x="0" y="11"/>
                      <a:pt x="11" y="0"/>
                      <a:pt x="24" y="0"/>
                    </a:cubicBezTo>
                    <a:cubicBezTo>
                      <a:pt x="37" y="0"/>
                      <a:pt x="48" y="11"/>
                      <a:pt x="48" y="25"/>
                    </a:cubicBezTo>
                    <a:cubicBezTo>
                      <a:pt x="48" y="38"/>
                      <a:pt x="37" y="49"/>
                      <a:pt x="24" y="49"/>
                    </a:cubicBezTo>
                    <a:close/>
                    <a:moveTo>
                      <a:pt x="24" y="4"/>
                    </a:moveTo>
                    <a:cubicBezTo>
                      <a:pt x="13" y="4"/>
                      <a:pt x="4" y="13"/>
                      <a:pt x="4" y="25"/>
                    </a:cubicBezTo>
                    <a:cubicBezTo>
                      <a:pt x="4" y="36"/>
                      <a:pt x="13" y="45"/>
                      <a:pt x="24" y="45"/>
                    </a:cubicBezTo>
                    <a:cubicBezTo>
                      <a:pt x="35" y="45"/>
                      <a:pt x="44" y="36"/>
                      <a:pt x="44" y="25"/>
                    </a:cubicBezTo>
                    <a:cubicBezTo>
                      <a:pt x="44" y="13"/>
                      <a:pt x="35" y="4"/>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315">
                <a:extLst>
                  <a:ext uri="{FF2B5EF4-FFF2-40B4-BE49-F238E27FC236}">
                    <a16:creationId xmlns:a16="http://schemas.microsoft.com/office/drawing/2014/main" id="{99D83134-5511-159A-228A-4DC90A222441}"/>
                  </a:ext>
                </a:extLst>
              </p:cNvPr>
              <p:cNvSpPr>
                <a:spLocks noEditPoints="1"/>
              </p:cNvSpPr>
              <p:nvPr/>
            </p:nvSpPr>
            <p:spPr bwMode="auto">
              <a:xfrm>
                <a:off x="1149351" y="5799138"/>
                <a:ext cx="339725" cy="342900"/>
              </a:xfrm>
              <a:custGeom>
                <a:avLst/>
                <a:gdLst>
                  <a:gd name="T0" fmla="*/ 42 w 90"/>
                  <a:gd name="T1" fmla="*/ 91 h 91"/>
                  <a:gd name="T2" fmla="*/ 35 w 90"/>
                  <a:gd name="T3" fmla="*/ 80 h 91"/>
                  <a:gd name="T4" fmla="*/ 25 w 90"/>
                  <a:gd name="T5" fmla="*/ 79 h 91"/>
                  <a:gd name="T6" fmla="*/ 11 w 90"/>
                  <a:gd name="T7" fmla="*/ 76 h 91"/>
                  <a:gd name="T8" fmla="*/ 14 w 90"/>
                  <a:gd name="T9" fmla="*/ 63 h 91"/>
                  <a:gd name="T10" fmla="*/ 7 w 90"/>
                  <a:gd name="T11" fmla="*/ 55 h 91"/>
                  <a:gd name="T12" fmla="*/ 0 w 90"/>
                  <a:gd name="T13" fmla="*/ 43 h 91"/>
                  <a:gd name="T14" fmla="*/ 11 w 90"/>
                  <a:gd name="T15" fmla="*/ 36 h 91"/>
                  <a:gd name="T16" fmla="*/ 11 w 90"/>
                  <a:gd name="T17" fmla="*/ 25 h 91"/>
                  <a:gd name="T18" fmla="*/ 11 w 90"/>
                  <a:gd name="T19" fmla="*/ 15 h 91"/>
                  <a:gd name="T20" fmla="*/ 20 w 90"/>
                  <a:gd name="T21" fmla="*/ 10 h 91"/>
                  <a:gd name="T22" fmla="*/ 28 w 90"/>
                  <a:gd name="T23" fmla="*/ 14 h 91"/>
                  <a:gd name="T24" fmla="*/ 35 w 90"/>
                  <a:gd name="T25" fmla="*/ 7 h 91"/>
                  <a:gd name="T26" fmla="*/ 48 w 90"/>
                  <a:gd name="T27" fmla="*/ 0 h 91"/>
                  <a:gd name="T28" fmla="*/ 55 w 90"/>
                  <a:gd name="T29" fmla="*/ 11 h 91"/>
                  <a:gd name="T30" fmla="*/ 65 w 90"/>
                  <a:gd name="T31" fmla="*/ 12 h 91"/>
                  <a:gd name="T32" fmla="*/ 75 w 90"/>
                  <a:gd name="T33" fmla="*/ 12 h 91"/>
                  <a:gd name="T34" fmla="*/ 81 w 90"/>
                  <a:gd name="T35" fmla="*/ 20 h 91"/>
                  <a:gd name="T36" fmla="*/ 76 w 90"/>
                  <a:gd name="T37" fmla="*/ 28 h 91"/>
                  <a:gd name="T38" fmla="*/ 83 w 90"/>
                  <a:gd name="T39" fmla="*/ 36 h 91"/>
                  <a:gd name="T40" fmla="*/ 90 w 90"/>
                  <a:gd name="T41" fmla="*/ 48 h 91"/>
                  <a:gd name="T42" fmla="*/ 79 w 90"/>
                  <a:gd name="T43" fmla="*/ 55 h 91"/>
                  <a:gd name="T44" fmla="*/ 79 w 90"/>
                  <a:gd name="T45" fmla="*/ 66 h 91"/>
                  <a:gd name="T46" fmla="*/ 75 w 90"/>
                  <a:gd name="T47" fmla="*/ 79 h 91"/>
                  <a:gd name="T48" fmla="*/ 62 w 90"/>
                  <a:gd name="T49" fmla="*/ 77 h 91"/>
                  <a:gd name="T50" fmla="*/ 55 w 90"/>
                  <a:gd name="T51" fmla="*/ 84 h 91"/>
                  <a:gd name="T52" fmla="*/ 27 w 90"/>
                  <a:gd name="T53" fmla="*/ 72 h 91"/>
                  <a:gd name="T54" fmla="*/ 38 w 90"/>
                  <a:gd name="T55" fmla="*/ 76 h 91"/>
                  <a:gd name="T56" fmla="*/ 39 w 90"/>
                  <a:gd name="T57" fmla="*/ 84 h 91"/>
                  <a:gd name="T58" fmla="*/ 48 w 90"/>
                  <a:gd name="T59" fmla="*/ 87 h 91"/>
                  <a:gd name="T60" fmla="*/ 51 w 90"/>
                  <a:gd name="T61" fmla="*/ 78 h 91"/>
                  <a:gd name="T62" fmla="*/ 62 w 90"/>
                  <a:gd name="T63" fmla="*/ 72 h 91"/>
                  <a:gd name="T64" fmla="*/ 68 w 90"/>
                  <a:gd name="T65" fmla="*/ 77 h 91"/>
                  <a:gd name="T66" fmla="*/ 76 w 90"/>
                  <a:gd name="T67" fmla="*/ 73 h 91"/>
                  <a:gd name="T68" fmla="*/ 72 w 90"/>
                  <a:gd name="T69" fmla="*/ 65 h 91"/>
                  <a:gd name="T70" fmla="*/ 72 w 90"/>
                  <a:gd name="T71" fmla="*/ 62 h 91"/>
                  <a:gd name="T72" fmla="*/ 78 w 90"/>
                  <a:gd name="T73" fmla="*/ 51 h 91"/>
                  <a:gd name="T74" fmla="*/ 86 w 90"/>
                  <a:gd name="T75" fmla="*/ 48 h 91"/>
                  <a:gd name="T76" fmla="*/ 83 w 90"/>
                  <a:gd name="T77" fmla="*/ 40 h 91"/>
                  <a:gd name="T78" fmla="*/ 76 w 90"/>
                  <a:gd name="T79" fmla="*/ 38 h 91"/>
                  <a:gd name="T80" fmla="*/ 72 w 90"/>
                  <a:gd name="T81" fmla="*/ 27 h 91"/>
                  <a:gd name="T82" fmla="*/ 77 w 90"/>
                  <a:gd name="T83" fmla="*/ 20 h 91"/>
                  <a:gd name="T84" fmla="*/ 72 w 90"/>
                  <a:gd name="T85" fmla="*/ 14 h 91"/>
                  <a:gd name="T86" fmla="*/ 64 w 90"/>
                  <a:gd name="T87" fmla="*/ 18 h 91"/>
                  <a:gd name="T88" fmla="*/ 52 w 90"/>
                  <a:gd name="T89" fmla="*/ 15 h 91"/>
                  <a:gd name="T90" fmla="*/ 51 w 90"/>
                  <a:gd name="T91" fmla="*/ 7 h 91"/>
                  <a:gd name="T92" fmla="*/ 42 w 90"/>
                  <a:gd name="T93" fmla="*/ 4 h 91"/>
                  <a:gd name="T94" fmla="*/ 39 w 90"/>
                  <a:gd name="T95" fmla="*/ 13 h 91"/>
                  <a:gd name="T96" fmla="*/ 28 w 90"/>
                  <a:gd name="T97" fmla="*/ 19 h 91"/>
                  <a:gd name="T98" fmla="*/ 22 w 90"/>
                  <a:gd name="T99" fmla="*/ 14 h 91"/>
                  <a:gd name="T100" fmla="*/ 14 w 90"/>
                  <a:gd name="T101" fmla="*/ 18 h 91"/>
                  <a:gd name="T102" fmla="*/ 14 w 90"/>
                  <a:gd name="T103" fmla="*/ 23 h 91"/>
                  <a:gd name="T104" fmla="*/ 18 w 90"/>
                  <a:gd name="T105" fmla="*/ 29 h 91"/>
                  <a:gd name="T106" fmla="*/ 12 w 90"/>
                  <a:gd name="T107" fmla="*/ 40 h 91"/>
                  <a:gd name="T108" fmla="*/ 4 w 90"/>
                  <a:gd name="T109" fmla="*/ 43 h 91"/>
                  <a:gd name="T110" fmla="*/ 7 w 90"/>
                  <a:gd name="T111" fmla="*/ 51 h 91"/>
                  <a:gd name="T112" fmla="*/ 14 w 90"/>
                  <a:gd name="T113" fmla="*/ 53 h 91"/>
                  <a:gd name="T114" fmla="*/ 18 w 90"/>
                  <a:gd name="T115" fmla="*/ 64 h 91"/>
                  <a:gd name="T116" fmla="*/ 14 w 90"/>
                  <a:gd name="T117" fmla="*/ 73 h 91"/>
                  <a:gd name="T118" fmla="*/ 22 w 90"/>
                  <a:gd name="T119" fmla="*/ 77 h 91"/>
                  <a:gd name="T120" fmla="*/ 27 w 90"/>
                  <a:gd name="T121" fmla="*/ 7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 h="91">
                    <a:moveTo>
                      <a:pt x="48" y="91"/>
                    </a:moveTo>
                    <a:cubicBezTo>
                      <a:pt x="42" y="91"/>
                      <a:pt x="42" y="91"/>
                      <a:pt x="42" y="91"/>
                    </a:cubicBezTo>
                    <a:cubicBezTo>
                      <a:pt x="39" y="91"/>
                      <a:pt x="35" y="88"/>
                      <a:pt x="35" y="84"/>
                    </a:cubicBezTo>
                    <a:cubicBezTo>
                      <a:pt x="35" y="80"/>
                      <a:pt x="35" y="80"/>
                      <a:pt x="35" y="80"/>
                    </a:cubicBezTo>
                    <a:cubicBezTo>
                      <a:pt x="33" y="79"/>
                      <a:pt x="30" y="78"/>
                      <a:pt x="28" y="77"/>
                    </a:cubicBezTo>
                    <a:cubicBezTo>
                      <a:pt x="25" y="79"/>
                      <a:pt x="25" y="79"/>
                      <a:pt x="25" y="79"/>
                    </a:cubicBezTo>
                    <a:cubicBezTo>
                      <a:pt x="22" y="82"/>
                      <a:pt x="18" y="82"/>
                      <a:pt x="15" y="79"/>
                    </a:cubicBezTo>
                    <a:cubicBezTo>
                      <a:pt x="11" y="76"/>
                      <a:pt x="11" y="76"/>
                      <a:pt x="11" y="76"/>
                    </a:cubicBezTo>
                    <a:cubicBezTo>
                      <a:pt x="8" y="73"/>
                      <a:pt x="8" y="68"/>
                      <a:pt x="11" y="66"/>
                    </a:cubicBezTo>
                    <a:cubicBezTo>
                      <a:pt x="14" y="63"/>
                      <a:pt x="14" y="63"/>
                      <a:pt x="14" y="63"/>
                    </a:cubicBezTo>
                    <a:cubicBezTo>
                      <a:pt x="13" y="60"/>
                      <a:pt x="12" y="58"/>
                      <a:pt x="11" y="55"/>
                    </a:cubicBezTo>
                    <a:cubicBezTo>
                      <a:pt x="7" y="55"/>
                      <a:pt x="7" y="55"/>
                      <a:pt x="7" y="55"/>
                    </a:cubicBezTo>
                    <a:cubicBezTo>
                      <a:pt x="3" y="55"/>
                      <a:pt x="0" y="52"/>
                      <a:pt x="0" y="48"/>
                    </a:cubicBezTo>
                    <a:cubicBezTo>
                      <a:pt x="0" y="43"/>
                      <a:pt x="0" y="43"/>
                      <a:pt x="0" y="43"/>
                    </a:cubicBezTo>
                    <a:cubicBezTo>
                      <a:pt x="0" y="39"/>
                      <a:pt x="3" y="36"/>
                      <a:pt x="7" y="36"/>
                    </a:cubicBezTo>
                    <a:cubicBezTo>
                      <a:pt x="11" y="36"/>
                      <a:pt x="11" y="36"/>
                      <a:pt x="11" y="36"/>
                    </a:cubicBezTo>
                    <a:cubicBezTo>
                      <a:pt x="12" y="33"/>
                      <a:pt x="13" y="31"/>
                      <a:pt x="14" y="28"/>
                    </a:cubicBezTo>
                    <a:cubicBezTo>
                      <a:pt x="11" y="25"/>
                      <a:pt x="11" y="25"/>
                      <a:pt x="11" y="25"/>
                    </a:cubicBezTo>
                    <a:cubicBezTo>
                      <a:pt x="10" y="24"/>
                      <a:pt x="9" y="22"/>
                      <a:pt x="9" y="20"/>
                    </a:cubicBezTo>
                    <a:cubicBezTo>
                      <a:pt x="9" y="18"/>
                      <a:pt x="10" y="17"/>
                      <a:pt x="11" y="15"/>
                    </a:cubicBezTo>
                    <a:cubicBezTo>
                      <a:pt x="15" y="12"/>
                      <a:pt x="15" y="12"/>
                      <a:pt x="15" y="12"/>
                    </a:cubicBezTo>
                    <a:cubicBezTo>
                      <a:pt x="16" y="10"/>
                      <a:pt x="18" y="10"/>
                      <a:pt x="20" y="10"/>
                    </a:cubicBezTo>
                    <a:cubicBezTo>
                      <a:pt x="22" y="10"/>
                      <a:pt x="24" y="10"/>
                      <a:pt x="25" y="12"/>
                    </a:cubicBezTo>
                    <a:cubicBezTo>
                      <a:pt x="28" y="14"/>
                      <a:pt x="28" y="14"/>
                      <a:pt x="28" y="14"/>
                    </a:cubicBezTo>
                    <a:cubicBezTo>
                      <a:pt x="30" y="13"/>
                      <a:pt x="33" y="12"/>
                      <a:pt x="35" y="11"/>
                    </a:cubicBezTo>
                    <a:cubicBezTo>
                      <a:pt x="35" y="7"/>
                      <a:pt x="35" y="7"/>
                      <a:pt x="35" y="7"/>
                    </a:cubicBezTo>
                    <a:cubicBezTo>
                      <a:pt x="35" y="3"/>
                      <a:pt x="39" y="0"/>
                      <a:pt x="42" y="0"/>
                    </a:cubicBezTo>
                    <a:cubicBezTo>
                      <a:pt x="48" y="0"/>
                      <a:pt x="48" y="0"/>
                      <a:pt x="48" y="0"/>
                    </a:cubicBezTo>
                    <a:cubicBezTo>
                      <a:pt x="52" y="0"/>
                      <a:pt x="55" y="3"/>
                      <a:pt x="55" y="7"/>
                    </a:cubicBezTo>
                    <a:cubicBezTo>
                      <a:pt x="55" y="11"/>
                      <a:pt x="55" y="11"/>
                      <a:pt x="55" y="11"/>
                    </a:cubicBezTo>
                    <a:cubicBezTo>
                      <a:pt x="57" y="12"/>
                      <a:pt x="60" y="13"/>
                      <a:pt x="62" y="14"/>
                    </a:cubicBezTo>
                    <a:cubicBezTo>
                      <a:pt x="65" y="12"/>
                      <a:pt x="65" y="12"/>
                      <a:pt x="65" y="12"/>
                    </a:cubicBezTo>
                    <a:cubicBezTo>
                      <a:pt x="66" y="10"/>
                      <a:pt x="68" y="10"/>
                      <a:pt x="70" y="10"/>
                    </a:cubicBezTo>
                    <a:cubicBezTo>
                      <a:pt x="72" y="10"/>
                      <a:pt x="74" y="10"/>
                      <a:pt x="75" y="12"/>
                    </a:cubicBezTo>
                    <a:cubicBezTo>
                      <a:pt x="79" y="15"/>
                      <a:pt x="79" y="15"/>
                      <a:pt x="79" y="15"/>
                    </a:cubicBezTo>
                    <a:cubicBezTo>
                      <a:pt x="80" y="17"/>
                      <a:pt x="81" y="18"/>
                      <a:pt x="81" y="20"/>
                    </a:cubicBezTo>
                    <a:cubicBezTo>
                      <a:pt x="81" y="22"/>
                      <a:pt x="80" y="24"/>
                      <a:pt x="79" y="25"/>
                    </a:cubicBezTo>
                    <a:cubicBezTo>
                      <a:pt x="76" y="28"/>
                      <a:pt x="76" y="28"/>
                      <a:pt x="76" y="28"/>
                    </a:cubicBezTo>
                    <a:cubicBezTo>
                      <a:pt x="77" y="31"/>
                      <a:pt x="78" y="33"/>
                      <a:pt x="79" y="36"/>
                    </a:cubicBezTo>
                    <a:cubicBezTo>
                      <a:pt x="83" y="36"/>
                      <a:pt x="83" y="36"/>
                      <a:pt x="83" y="36"/>
                    </a:cubicBezTo>
                    <a:cubicBezTo>
                      <a:pt x="87" y="36"/>
                      <a:pt x="90" y="39"/>
                      <a:pt x="90" y="43"/>
                    </a:cubicBezTo>
                    <a:cubicBezTo>
                      <a:pt x="90" y="48"/>
                      <a:pt x="90" y="48"/>
                      <a:pt x="90" y="48"/>
                    </a:cubicBezTo>
                    <a:cubicBezTo>
                      <a:pt x="90" y="52"/>
                      <a:pt x="87" y="55"/>
                      <a:pt x="83" y="55"/>
                    </a:cubicBezTo>
                    <a:cubicBezTo>
                      <a:pt x="79" y="55"/>
                      <a:pt x="79" y="55"/>
                      <a:pt x="79" y="55"/>
                    </a:cubicBezTo>
                    <a:cubicBezTo>
                      <a:pt x="78" y="58"/>
                      <a:pt x="77" y="60"/>
                      <a:pt x="76" y="63"/>
                    </a:cubicBezTo>
                    <a:cubicBezTo>
                      <a:pt x="79" y="66"/>
                      <a:pt x="79" y="66"/>
                      <a:pt x="79" y="66"/>
                    </a:cubicBezTo>
                    <a:cubicBezTo>
                      <a:pt x="82" y="68"/>
                      <a:pt x="82" y="73"/>
                      <a:pt x="79" y="76"/>
                    </a:cubicBezTo>
                    <a:cubicBezTo>
                      <a:pt x="75" y="79"/>
                      <a:pt x="75" y="79"/>
                      <a:pt x="75" y="79"/>
                    </a:cubicBezTo>
                    <a:cubicBezTo>
                      <a:pt x="72" y="82"/>
                      <a:pt x="68" y="82"/>
                      <a:pt x="65" y="79"/>
                    </a:cubicBezTo>
                    <a:cubicBezTo>
                      <a:pt x="62" y="77"/>
                      <a:pt x="62" y="77"/>
                      <a:pt x="62" y="77"/>
                    </a:cubicBezTo>
                    <a:cubicBezTo>
                      <a:pt x="60" y="78"/>
                      <a:pt x="57" y="79"/>
                      <a:pt x="55" y="80"/>
                    </a:cubicBezTo>
                    <a:cubicBezTo>
                      <a:pt x="55" y="84"/>
                      <a:pt x="55" y="84"/>
                      <a:pt x="55" y="84"/>
                    </a:cubicBezTo>
                    <a:cubicBezTo>
                      <a:pt x="55" y="88"/>
                      <a:pt x="52" y="91"/>
                      <a:pt x="48" y="91"/>
                    </a:cubicBezTo>
                    <a:close/>
                    <a:moveTo>
                      <a:pt x="27" y="72"/>
                    </a:moveTo>
                    <a:cubicBezTo>
                      <a:pt x="28" y="72"/>
                      <a:pt x="28" y="72"/>
                      <a:pt x="28" y="72"/>
                    </a:cubicBezTo>
                    <a:cubicBezTo>
                      <a:pt x="31" y="74"/>
                      <a:pt x="34" y="75"/>
                      <a:pt x="38" y="76"/>
                    </a:cubicBezTo>
                    <a:cubicBezTo>
                      <a:pt x="39" y="76"/>
                      <a:pt x="39" y="77"/>
                      <a:pt x="39" y="78"/>
                    </a:cubicBezTo>
                    <a:cubicBezTo>
                      <a:pt x="39" y="84"/>
                      <a:pt x="39" y="84"/>
                      <a:pt x="39" y="84"/>
                    </a:cubicBezTo>
                    <a:cubicBezTo>
                      <a:pt x="39" y="85"/>
                      <a:pt x="41" y="87"/>
                      <a:pt x="42" y="87"/>
                    </a:cubicBezTo>
                    <a:cubicBezTo>
                      <a:pt x="48" y="87"/>
                      <a:pt x="48" y="87"/>
                      <a:pt x="48" y="87"/>
                    </a:cubicBezTo>
                    <a:cubicBezTo>
                      <a:pt x="49" y="87"/>
                      <a:pt x="51" y="85"/>
                      <a:pt x="51" y="84"/>
                    </a:cubicBezTo>
                    <a:cubicBezTo>
                      <a:pt x="51" y="78"/>
                      <a:pt x="51" y="78"/>
                      <a:pt x="51" y="78"/>
                    </a:cubicBezTo>
                    <a:cubicBezTo>
                      <a:pt x="51" y="77"/>
                      <a:pt x="51" y="76"/>
                      <a:pt x="52" y="76"/>
                    </a:cubicBezTo>
                    <a:cubicBezTo>
                      <a:pt x="56" y="75"/>
                      <a:pt x="59" y="74"/>
                      <a:pt x="62" y="72"/>
                    </a:cubicBezTo>
                    <a:cubicBezTo>
                      <a:pt x="62" y="72"/>
                      <a:pt x="63" y="72"/>
                      <a:pt x="64" y="73"/>
                    </a:cubicBezTo>
                    <a:cubicBezTo>
                      <a:pt x="68" y="77"/>
                      <a:pt x="68" y="77"/>
                      <a:pt x="68" y="77"/>
                    </a:cubicBezTo>
                    <a:cubicBezTo>
                      <a:pt x="69" y="78"/>
                      <a:pt x="71" y="78"/>
                      <a:pt x="72" y="77"/>
                    </a:cubicBezTo>
                    <a:cubicBezTo>
                      <a:pt x="76" y="73"/>
                      <a:pt x="76" y="73"/>
                      <a:pt x="76" y="73"/>
                    </a:cubicBezTo>
                    <a:cubicBezTo>
                      <a:pt x="77" y="72"/>
                      <a:pt x="77" y="70"/>
                      <a:pt x="76" y="68"/>
                    </a:cubicBezTo>
                    <a:cubicBezTo>
                      <a:pt x="72" y="65"/>
                      <a:pt x="72" y="65"/>
                      <a:pt x="72" y="65"/>
                    </a:cubicBezTo>
                    <a:cubicBezTo>
                      <a:pt x="72" y="64"/>
                      <a:pt x="71" y="63"/>
                      <a:pt x="72" y="62"/>
                    </a:cubicBezTo>
                    <a:cubicBezTo>
                      <a:pt x="72" y="62"/>
                      <a:pt x="72" y="62"/>
                      <a:pt x="72" y="62"/>
                    </a:cubicBezTo>
                    <a:cubicBezTo>
                      <a:pt x="74" y="59"/>
                      <a:pt x="75" y="56"/>
                      <a:pt x="76" y="53"/>
                    </a:cubicBezTo>
                    <a:cubicBezTo>
                      <a:pt x="76" y="52"/>
                      <a:pt x="77" y="51"/>
                      <a:pt x="78" y="51"/>
                    </a:cubicBezTo>
                    <a:cubicBezTo>
                      <a:pt x="83" y="51"/>
                      <a:pt x="83" y="51"/>
                      <a:pt x="83" y="51"/>
                    </a:cubicBezTo>
                    <a:cubicBezTo>
                      <a:pt x="85" y="51"/>
                      <a:pt x="86" y="50"/>
                      <a:pt x="86" y="48"/>
                    </a:cubicBezTo>
                    <a:cubicBezTo>
                      <a:pt x="86" y="43"/>
                      <a:pt x="86" y="43"/>
                      <a:pt x="86" y="43"/>
                    </a:cubicBezTo>
                    <a:cubicBezTo>
                      <a:pt x="86" y="41"/>
                      <a:pt x="85" y="40"/>
                      <a:pt x="83" y="40"/>
                    </a:cubicBezTo>
                    <a:cubicBezTo>
                      <a:pt x="78" y="40"/>
                      <a:pt x="78" y="40"/>
                      <a:pt x="78" y="40"/>
                    </a:cubicBezTo>
                    <a:cubicBezTo>
                      <a:pt x="77" y="40"/>
                      <a:pt x="76" y="39"/>
                      <a:pt x="76" y="38"/>
                    </a:cubicBezTo>
                    <a:cubicBezTo>
                      <a:pt x="75" y="35"/>
                      <a:pt x="74" y="32"/>
                      <a:pt x="72" y="29"/>
                    </a:cubicBezTo>
                    <a:cubicBezTo>
                      <a:pt x="71" y="28"/>
                      <a:pt x="72" y="27"/>
                      <a:pt x="72" y="27"/>
                    </a:cubicBezTo>
                    <a:cubicBezTo>
                      <a:pt x="76" y="23"/>
                      <a:pt x="76" y="23"/>
                      <a:pt x="76" y="23"/>
                    </a:cubicBezTo>
                    <a:cubicBezTo>
                      <a:pt x="77" y="22"/>
                      <a:pt x="77" y="21"/>
                      <a:pt x="77" y="20"/>
                    </a:cubicBezTo>
                    <a:cubicBezTo>
                      <a:pt x="77" y="19"/>
                      <a:pt x="77" y="19"/>
                      <a:pt x="76" y="18"/>
                    </a:cubicBezTo>
                    <a:cubicBezTo>
                      <a:pt x="72" y="14"/>
                      <a:pt x="72" y="14"/>
                      <a:pt x="72" y="14"/>
                    </a:cubicBezTo>
                    <a:cubicBezTo>
                      <a:pt x="71" y="13"/>
                      <a:pt x="69" y="13"/>
                      <a:pt x="68" y="14"/>
                    </a:cubicBezTo>
                    <a:cubicBezTo>
                      <a:pt x="64" y="18"/>
                      <a:pt x="64" y="18"/>
                      <a:pt x="64" y="18"/>
                    </a:cubicBezTo>
                    <a:cubicBezTo>
                      <a:pt x="63" y="19"/>
                      <a:pt x="62" y="19"/>
                      <a:pt x="62" y="19"/>
                    </a:cubicBezTo>
                    <a:cubicBezTo>
                      <a:pt x="59" y="17"/>
                      <a:pt x="56" y="16"/>
                      <a:pt x="52" y="15"/>
                    </a:cubicBezTo>
                    <a:cubicBezTo>
                      <a:pt x="51" y="15"/>
                      <a:pt x="51" y="14"/>
                      <a:pt x="51" y="13"/>
                    </a:cubicBezTo>
                    <a:cubicBezTo>
                      <a:pt x="51" y="7"/>
                      <a:pt x="51" y="7"/>
                      <a:pt x="51" y="7"/>
                    </a:cubicBezTo>
                    <a:cubicBezTo>
                      <a:pt x="51" y="6"/>
                      <a:pt x="49" y="4"/>
                      <a:pt x="48" y="4"/>
                    </a:cubicBezTo>
                    <a:cubicBezTo>
                      <a:pt x="42" y="4"/>
                      <a:pt x="42" y="4"/>
                      <a:pt x="42" y="4"/>
                    </a:cubicBezTo>
                    <a:cubicBezTo>
                      <a:pt x="41" y="4"/>
                      <a:pt x="39" y="6"/>
                      <a:pt x="39" y="7"/>
                    </a:cubicBezTo>
                    <a:cubicBezTo>
                      <a:pt x="39" y="13"/>
                      <a:pt x="39" y="13"/>
                      <a:pt x="39" y="13"/>
                    </a:cubicBezTo>
                    <a:cubicBezTo>
                      <a:pt x="39" y="14"/>
                      <a:pt x="39" y="15"/>
                      <a:pt x="38" y="15"/>
                    </a:cubicBezTo>
                    <a:cubicBezTo>
                      <a:pt x="34" y="16"/>
                      <a:pt x="31" y="17"/>
                      <a:pt x="28" y="19"/>
                    </a:cubicBezTo>
                    <a:cubicBezTo>
                      <a:pt x="28" y="19"/>
                      <a:pt x="27" y="19"/>
                      <a:pt x="26" y="18"/>
                    </a:cubicBezTo>
                    <a:cubicBezTo>
                      <a:pt x="22" y="14"/>
                      <a:pt x="22" y="14"/>
                      <a:pt x="22" y="14"/>
                    </a:cubicBezTo>
                    <a:cubicBezTo>
                      <a:pt x="21" y="13"/>
                      <a:pt x="19" y="13"/>
                      <a:pt x="18" y="14"/>
                    </a:cubicBezTo>
                    <a:cubicBezTo>
                      <a:pt x="14" y="18"/>
                      <a:pt x="14" y="18"/>
                      <a:pt x="14" y="18"/>
                    </a:cubicBezTo>
                    <a:cubicBezTo>
                      <a:pt x="13" y="19"/>
                      <a:pt x="13" y="19"/>
                      <a:pt x="13" y="20"/>
                    </a:cubicBezTo>
                    <a:cubicBezTo>
                      <a:pt x="13" y="21"/>
                      <a:pt x="13" y="22"/>
                      <a:pt x="14" y="23"/>
                    </a:cubicBezTo>
                    <a:cubicBezTo>
                      <a:pt x="18" y="27"/>
                      <a:pt x="18" y="27"/>
                      <a:pt x="18" y="27"/>
                    </a:cubicBezTo>
                    <a:cubicBezTo>
                      <a:pt x="19" y="27"/>
                      <a:pt x="19" y="28"/>
                      <a:pt x="18" y="29"/>
                    </a:cubicBezTo>
                    <a:cubicBezTo>
                      <a:pt x="16" y="32"/>
                      <a:pt x="15" y="35"/>
                      <a:pt x="14" y="38"/>
                    </a:cubicBezTo>
                    <a:cubicBezTo>
                      <a:pt x="14" y="39"/>
                      <a:pt x="13" y="40"/>
                      <a:pt x="12" y="40"/>
                    </a:cubicBezTo>
                    <a:cubicBezTo>
                      <a:pt x="7" y="40"/>
                      <a:pt x="7" y="40"/>
                      <a:pt x="7" y="40"/>
                    </a:cubicBezTo>
                    <a:cubicBezTo>
                      <a:pt x="5" y="40"/>
                      <a:pt x="4" y="41"/>
                      <a:pt x="4" y="43"/>
                    </a:cubicBezTo>
                    <a:cubicBezTo>
                      <a:pt x="4" y="48"/>
                      <a:pt x="4" y="48"/>
                      <a:pt x="4" y="48"/>
                    </a:cubicBezTo>
                    <a:cubicBezTo>
                      <a:pt x="4" y="50"/>
                      <a:pt x="5" y="51"/>
                      <a:pt x="7" y="51"/>
                    </a:cubicBezTo>
                    <a:cubicBezTo>
                      <a:pt x="12" y="51"/>
                      <a:pt x="12" y="51"/>
                      <a:pt x="12" y="51"/>
                    </a:cubicBezTo>
                    <a:cubicBezTo>
                      <a:pt x="13" y="51"/>
                      <a:pt x="14" y="52"/>
                      <a:pt x="14" y="53"/>
                    </a:cubicBezTo>
                    <a:cubicBezTo>
                      <a:pt x="15" y="56"/>
                      <a:pt x="16" y="59"/>
                      <a:pt x="18" y="62"/>
                    </a:cubicBezTo>
                    <a:cubicBezTo>
                      <a:pt x="19" y="63"/>
                      <a:pt x="19" y="64"/>
                      <a:pt x="18" y="64"/>
                    </a:cubicBezTo>
                    <a:cubicBezTo>
                      <a:pt x="14" y="68"/>
                      <a:pt x="14" y="68"/>
                      <a:pt x="14" y="68"/>
                    </a:cubicBezTo>
                    <a:cubicBezTo>
                      <a:pt x="13" y="70"/>
                      <a:pt x="13" y="72"/>
                      <a:pt x="14" y="73"/>
                    </a:cubicBezTo>
                    <a:cubicBezTo>
                      <a:pt x="18" y="77"/>
                      <a:pt x="18" y="77"/>
                      <a:pt x="18" y="77"/>
                    </a:cubicBezTo>
                    <a:cubicBezTo>
                      <a:pt x="19" y="78"/>
                      <a:pt x="21" y="78"/>
                      <a:pt x="22" y="77"/>
                    </a:cubicBezTo>
                    <a:cubicBezTo>
                      <a:pt x="26" y="73"/>
                      <a:pt x="26" y="73"/>
                      <a:pt x="26" y="73"/>
                    </a:cubicBezTo>
                    <a:cubicBezTo>
                      <a:pt x="26" y="72"/>
                      <a:pt x="27" y="72"/>
                      <a:pt x="27"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316">
                <a:extLst>
                  <a:ext uri="{FF2B5EF4-FFF2-40B4-BE49-F238E27FC236}">
                    <a16:creationId xmlns:a16="http://schemas.microsoft.com/office/drawing/2014/main" id="{0D2CDEBE-EEA4-5DE3-3C41-7900E561D060}"/>
                  </a:ext>
                </a:extLst>
              </p:cNvPr>
              <p:cNvSpPr>
                <a:spLocks noEditPoints="1"/>
              </p:cNvSpPr>
              <p:nvPr/>
            </p:nvSpPr>
            <p:spPr bwMode="auto">
              <a:xfrm>
                <a:off x="1538289" y="6002338"/>
                <a:ext cx="158750" cy="169863"/>
              </a:xfrm>
              <a:custGeom>
                <a:avLst/>
                <a:gdLst>
                  <a:gd name="T0" fmla="*/ 21 w 42"/>
                  <a:gd name="T1" fmla="*/ 45 h 45"/>
                  <a:gd name="T2" fmla="*/ 2 w 42"/>
                  <a:gd name="T3" fmla="*/ 32 h 45"/>
                  <a:gd name="T4" fmla="*/ 2 w 42"/>
                  <a:gd name="T5" fmla="*/ 16 h 45"/>
                  <a:gd name="T6" fmla="*/ 13 w 42"/>
                  <a:gd name="T7" fmla="*/ 5 h 45"/>
                  <a:gd name="T8" fmla="*/ 40 w 42"/>
                  <a:gd name="T9" fmla="*/ 16 h 45"/>
                  <a:gd name="T10" fmla="*/ 40 w 42"/>
                  <a:gd name="T11" fmla="*/ 32 h 45"/>
                  <a:gd name="T12" fmla="*/ 29 w 42"/>
                  <a:gd name="T13" fmla="*/ 43 h 45"/>
                  <a:gd name="T14" fmla="*/ 21 w 42"/>
                  <a:gd name="T15" fmla="*/ 45 h 45"/>
                  <a:gd name="T16" fmla="*/ 21 w 42"/>
                  <a:gd name="T17" fmla="*/ 7 h 45"/>
                  <a:gd name="T18" fmla="*/ 14 w 42"/>
                  <a:gd name="T19" fmla="*/ 8 h 45"/>
                  <a:gd name="T20" fmla="*/ 5 w 42"/>
                  <a:gd name="T21" fmla="*/ 18 h 45"/>
                  <a:gd name="T22" fmla="*/ 6 w 42"/>
                  <a:gd name="T23" fmla="*/ 30 h 45"/>
                  <a:gd name="T24" fmla="*/ 28 w 42"/>
                  <a:gd name="T25" fmla="*/ 39 h 45"/>
                  <a:gd name="T26" fmla="*/ 37 w 42"/>
                  <a:gd name="T27" fmla="*/ 30 h 45"/>
                  <a:gd name="T28" fmla="*/ 37 w 42"/>
                  <a:gd name="T29" fmla="*/ 17 h 45"/>
                  <a:gd name="T30" fmla="*/ 21 w 42"/>
                  <a:gd name="T31"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45">
                    <a:moveTo>
                      <a:pt x="21" y="45"/>
                    </a:moveTo>
                    <a:cubicBezTo>
                      <a:pt x="13" y="45"/>
                      <a:pt x="5" y="40"/>
                      <a:pt x="2" y="32"/>
                    </a:cubicBezTo>
                    <a:cubicBezTo>
                      <a:pt x="0" y="27"/>
                      <a:pt x="0" y="21"/>
                      <a:pt x="2" y="16"/>
                    </a:cubicBezTo>
                    <a:cubicBezTo>
                      <a:pt x="4" y="11"/>
                      <a:pt x="8" y="7"/>
                      <a:pt x="13" y="5"/>
                    </a:cubicBezTo>
                    <a:cubicBezTo>
                      <a:pt x="23" y="0"/>
                      <a:pt x="36" y="5"/>
                      <a:pt x="40" y="16"/>
                    </a:cubicBezTo>
                    <a:cubicBezTo>
                      <a:pt x="42" y="21"/>
                      <a:pt x="42" y="26"/>
                      <a:pt x="40" y="32"/>
                    </a:cubicBezTo>
                    <a:cubicBezTo>
                      <a:pt x="38" y="37"/>
                      <a:pt x="34" y="41"/>
                      <a:pt x="29" y="43"/>
                    </a:cubicBezTo>
                    <a:cubicBezTo>
                      <a:pt x="27" y="44"/>
                      <a:pt x="24" y="45"/>
                      <a:pt x="21" y="45"/>
                    </a:cubicBezTo>
                    <a:close/>
                    <a:moveTo>
                      <a:pt x="21" y="7"/>
                    </a:moveTo>
                    <a:cubicBezTo>
                      <a:pt x="19" y="7"/>
                      <a:pt x="17" y="7"/>
                      <a:pt x="14" y="8"/>
                    </a:cubicBezTo>
                    <a:cubicBezTo>
                      <a:pt x="10" y="10"/>
                      <a:pt x="7" y="13"/>
                      <a:pt x="5" y="18"/>
                    </a:cubicBezTo>
                    <a:cubicBezTo>
                      <a:pt x="4" y="22"/>
                      <a:pt x="4" y="26"/>
                      <a:pt x="6" y="30"/>
                    </a:cubicBezTo>
                    <a:cubicBezTo>
                      <a:pt x="9" y="39"/>
                      <a:pt x="19" y="43"/>
                      <a:pt x="28" y="39"/>
                    </a:cubicBezTo>
                    <a:cubicBezTo>
                      <a:pt x="32" y="38"/>
                      <a:pt x="35" y="34"/>
                      <a:pt x="37" y="30"/>
                    </a:cubicBezTo>
                    <a:cubicBezTo>
                      <a:pt x="38" y="26"/>
                      <a:pt x="38" y="21"/>
                      <a:pt x="37" y="17"/>
                    </a:cubicBezTo>
                    <a:cubicBezTo>
                      <a:pt x="34" y="11"/>
                      <a:pt x="28" y="7"/>
                      <a:pt x="2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17">
                <a:extLst>
                  <a:ext uri="{FF2B5EF4-FFF2-40B4-BE49-F238E27FC236}">
                    <a16:creationId xmlns:a16="http://schemas.microsoft.com/office/drawing/2014/main" id="{57BF50F9-C04C-801C-3CB6-0A49A22C0492}"/>
                  </a:ext>
                </a:extLst>
              </p:cNvPr>
              <p:cNvSpPr>
                <a:spLocks noEditPoints="1"/>
              </p:cNvSpPr>
              <p:nvPr/>
            </p:nvSpPr>
            <p:spPr bwMode="auto">
              <a:xfrm>
                <a:off x="1474789" y="5953125"/>
                <a:ext cx="285750" cy="279400"/>
              </a:xfrm>
              <a:custGeom>
                <a:avLst/>
                <a:gdLst>
                  <a:gd name="T0" fmla="*/ 22 w 76"/>
                  <a:gd name="T1" fmla="*/ 72 h 74"/>
                  <a:gd name="T2" fmla="*/ 19 w 76"/>
                  <a:gd name="T3" fmla="*/ 61 h 74"/>
                  <a:gd name="T4" fmla="*/ 7 w 76"/>
                  <a:gd name="T5" fmla="*/ 57 h 74"/>
                  <a:gd name="T6" fmla="*/ 5 w 76"/>
                  <a:gd name="T7" fmla="*/ 42 h 74"/>
                  <a:gd name="T8" fmla="*/ 5 w 76"/>
                  <a:gd name="T9" fmla="*/ 33 h 74"/>
                  <a:gd name="T10" fmla="*/ 7 w 76"/>
                  <a:gd name="T11" fmla="*/ 17 h 74"/>
                  <a:gd name="T12" fmla="*/ 19 w 76"/>
                  <a:gd name="T13" fmla="*/ 13 h 74"/>
                  <a:gd name="T14" fmla="*/ 25 w 76"/>
                  <a:gd name="T15" fmla="*/ 0 h 74"/>
                  <a:gd name="T16" fmla="*/ 35 w 76"/>
                  <a:gd name="T17" fmla="*/ 7 h 74"/>
                  <a:gd name="T18" fmla="*/ 46 w 76"/>
                  <a:gd name="T19" fmla="*/ 0 h 74"/>
                  <a:gd name="T20" fmla="*/ 58 w 76"/>
                  <a:gd name="T21" fmla="*/ 5 h 74"/>
                  <a:gd name="T22" fmla="*/ 61 w 76"/>
                  <a:gd name="T23" fmla="*/ 18 h 74"/>
                  <a:gd name="T24" fmla="*/ 73 w 76"/>
                  <a:gd name="T25" fmla="*/ 20 h 74"/>
                  <a:gd name="T26" fmla="*/ 68 w 76"/>
                  <a:gd name="T27" fmla="*/ 33 h 74"/>
                  <a:gd name="T28" fmla="*/ 75 w 76"/>
                  <a:gd name="T29" fmla="*/ 49 h 74"/>
                  <a:gd name="T30" fmla="*/ 65 w 76"/>
                  <a:gd name="T31" fmla="*/ 57 h 74"/>
                  <a:gd name="T32" fmla="*/ 59 w 76"/>
                  <a:gd name="T33" fmla="*/ 63 h 74"/>
                  <a:gd name="T34" fmla="*/ 51 w 76"/>
                  <a:gd name="T35" fmla="*/ 73 h 74"/>
                  <a:gd name="T36" fmla="*/ 42 w 76"/>
                  <a:gd name="T37" fmla="*/ 67 h 74"/>
                  <a:gd name="T38" fmla="*/ 30 w 76"/>
                  <a:gd name="T39" fmla="*/ 73 h 74"/>
                  <a:gd name="T40" fmla="*/ 22 w 76"/>
                  <a:gd name="T41" fmla="*/ 65 h 74"/>
                  <a:gd name="T42" fmla="*/ 27 w 76"/>
                  <a:gd name="T43" fmla="*/ 70 h 74"/>
                  <a:gd name="T44" fmla="*/ 32 w 76"/>
                  <a:gd name="T45" fmla="*/ 64 h 74"/>
                  <a:gd name="T46" fmla="*/ 45 w 76"/>
                  <a:gd name="T47" fmla="*/ 64 h 74"/>
                  <a:gd name="T48" fmla="*/ 54 w 76"/>
                  <a:gd name="T49" fmla="*/ 68 h 74"/>
                  <a:gd name="T50" fmla="*/ 53 w 76"/>
                  <a:gd name="T51" fmla="*/ 60 h 74"/>
                  <a:gd name="T52" fmla="*/ 62 w 76"/>
                  <a:gd name="T53" fmla="*/ 51 h 74"/>
                  <a:gd name="T54" fmla="*/ 69 w 76"/>
                  <a:gd name="T55" fmla="*/ 52 h 74"/>
                  <a:gd name="T56" fmla="*/ 70 w 76"/>
                  <a:gd name="T57" fmla="*/ 45 h 74"/>
                  <a:gd name="T58" fmla="*/ 64 w 76"/>
                  <a:gd name="T59" fmla="*/ 41 h 74"/>
                  <a:gd name="T60" fmla="*/ 69 w 76"/>
                  <a:gd name="T61" fmla="*/ 28 h 74"/>
                  <a:gd name="T62" fmla="*/ 66 w 76"/>
                  <a:gd name="T63" fmla="*/ 20 h 74"/>
                  <a:gd name="T64" fmla="*/ 53 w 76"/>
                  <a:gd name="T65" fmla="*/ 15 h 74"/>
                  <a:gd name="T66" fmla="*/ 54 w 76"/>
                  <a:gd name="T67" fmla="*/ 7 h 74"/>
                  <a:gd name="T68" fmla="*/ 47 w 76"/>
                  <a:gd name="T69" fmla="*/ 4 h 74"/>
                  <a:gd name="T70" fmla="*/ 42 w 76"/>
                  <a:gd name="T71" fmla="*/ 11 h 74"/>
                  <a:gd name="T72" fmla="*/ 30 w 76"/>
                  <a:gd name="T73" fmla="*/ 5 h 74"/>
                  <a:gd name="T74" fmla="*/ 21 w 76"/>
                  <a:gd name="T75" fmla="*/ 9 h 74"/>
                  <a:gd name="T76" fmla="*/ 17 w 76"/>
                  <a:gd name="T77" fmla="*/ 22 h 74"/>
                  <a:gd name="T78" fmla="*/ 8 w 76"/>
                  <a:gd name="T79" fmla="*/ 21 h 74"/>
                  <a:gd name="T80" fmla="*/ 6 w 76"/>
                  <a:gd name="T81" fmla="*/ 29 h 74"/>
                  <a:gd name="T82" fmla="*/ 12 w 76"/>
                  <a:gd name="T83" fmla="*/ 41 h 74"/>
                  <a:gd name="T84" fmla="*/ 5 w 76"/>
                  <a:gd name="T85" fmla="*/ 48 h 74"/>
                  <a:gd name="T86" fmla="*/ 10 w 76"/>
                  <a:gd name="T87" fmla="*/ 54 h 74"/>
                  <a:gd name="T88" fmla="*/ 23 w 76"/>
                  <a:gd name="T89" fmla="*/ 5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6" h="74">
                    <a:moveTo>
                      <a:pt x="28" y="74"/>
                    </a:moveTo>
                    <a:cubicBezTo>
                      <a:pt x="27" y="74"/>
                      <a:pt x="26" y="74"/>
                      <a:pt x="26" y="73"/>
                    </a:cubicBezTo>
                    <a:cubicBezTo>
                      <a:pt x="22" y="72"/>
                      <a:pt x="22" y="72"/>
                      <a:pt x="22" y="72"/>
                    </a:cubicBezTo>
                    <a:cubicBezTo>
                      <a:pt x="20" y="71"/>
                      <a:pt x="19" y="70"/>
                      <a:pt x="18" y="68"/>
                    </a:cubicBezTo>
                    <a:cubicBezTo>
                      <a:pt x="17" y="67"/>
                      <a:pt x="17" y="65"/>
                      <a:pt x="18" y="63"/>
                    </a:cubicBezTo>
                    <a:cubicBezTo>
                      <a:pt x="19" y="61"/>
                      <a:pt x="19" y="61"/>
                      <a:pt x="19" y="61"/>
                    </a:cubicBezTo>
                    <a:cubicBezTo>
                      <a:pt x="18" y="59"/>
                      <a:pt x="16" y="58"/>
                      <a:pt x="15" y="56"/>
                    </a:cubicBezTo>
                    <a:cubicBezTo>
                      <a:pt x="12" y="57"/>
                      <a:pt x="12" y="57"/>
                      <a:pt x="12" y="57"/>
                    </a:cubicBezTo>
                    <a:cubicBezTo>
                      <a:pt x="10" y="58"/>
                      <a:pt x="8" y="58"/>
                      <a:pt x="7" y="57"/>
                    </a:cubicBezTo>
                    <a:cubicBezTo>
                      <a:pt x="5" y="57"/>
                      <a:pt x="4" y="55"/>
                      <a:pt x="3" y="54"/>
                    </a:cubicBezTo>
                    <a:cubicBezTo>
                      <a:pt x="2" y="50"/>
                      <a:pt x="2" y="50"/>
                      <a:pt x="2" y="50"/>
                    </a:cubicBezTo>
                    <a:cubicBezTo>
                      <a:pt x="0" y="47"/>
                      <a:pt x="2" y="43"/>
                      <a:pt x="5" y="42"/>
                    </a:cubicBezTo>
                    <a:cubicBezTo>
                      <a:pt x="8" y="40"/>
                      <a:pt x="8" y="40"/>
                      <a:pt x="8" y="40"/>
                    </a:cubicBezTo>
                    <a:cubicBezTo>
                      <a:pt x="8" y="38"/>
                      <a:pt x="8" y="36"/>
                      <a:pt x="8" y="34"/>
                    </a:cubicBezTo>
                    <a:cubicBezTo>
                      <a:pt x="5" y="33"/>
                      <a:pt x="5" y="33"/>
                      <a:pt x="5" y="33"/>
                    </a:cubicBezTo>
                    <a:cubicBezTo>
                      <a:pt x="2" y="31"/>
                      <a:pt x="0" y="28"/>
                      <a:pt x="1" y="24"/>
                    </a:cubicBezTo>
                    <a:cubicBezTo>
                      <a:pt x="3" y="20"/>
                      <a:pt x="3" y="20"/>
                      <a:pt x="3" y="20"/>
                    </a:cubicBezTo>
                    <a:cubicBezTo>
                      <a:pt x="4" y="19"/>
                      <a:pt x="5" y="18"/>
                      <a:pt x="7" y="17"/>
                    </a:cubicBezTo>
                    <a:cubicBezTo>
                      <a:pt x="8" y="16"/>
                      <a:pt x="10" y="16"/>
                      <a:pt x="11" y="17"/>
                    </a:cubicBezTo>
                    <a:cubicBezTo>
                      <a:pt x="14" y="18"/>
                      <a:pt x="14" y="18"/>
                      <a:pt x="14" y="18"/>
                    </a:cubicBezTo>
                    <a:cubicBezTo>
                      <a:pt x="16" y="16"/>
                      <a:pt x="17" y="15"/>
                      <a:pt x="19" y="13"/>
                    </a:cubicBezTo>
                    <a:cubicBezTo>
                      <a:pt x="18" y="11"/>
                      <a:pt x="18" y="11"/>
                      <a:pt x="18" y="11"/>
                    </a:cubicBezTo>
                    <a:cubicBezTo>
                      <a:pt x="16" y="7"/>
                      <a:pt x="18" y="4"/>
                      <a:pt x="21" y="2"/>
                    </a:cubicBezTo>
                    <a:cubicBezTo>
                      <a:pt x="25" y="0"/>
                      <a:pt x="25" y="0"/>
                      <a:pt x="25" y="0"/>
                    </a:cubicBezTo>
                    <a:cubicBezTo>
                      <a:pt x="27" y="0"/>
                      <a:pt x="28" y="0"/>
                      <a:pt x="30" y="0"/>
                    </a:cubicBezTo>
                    <a:cubicBezTo>
                      <a:pt x="31" y="1"/>
                      <a:pt x="33" y="2"/>
                      <a:pt x="33" y="4"/>
                    </a:cubicBezTo>
                    <a:cubicBezTo>
                      <a:pt x="35" y="7"/>
                      <a:pt x="35" y="7"/>
                      <a:pt x="35" y="7"/>
                    </a:cubicBezTo>
                    <a:cubicBezTo>
                      <a:pt x="37" y="6"/>
                      <a:pt x="39" y="6"/>
                      <a:pt x="41" y="7"/>
                    </a:cubicBezTo>
                    <a:cubicBezTo>
                      <a:pt x="42" y="4"/>
                      <a:pt x="42" y="4"/>
                      <a:pt x="42" y="4"/>
                    </a:cubicBezTo>
                    <a:cubicBezTo>
                      <a:pt x="43" y="2"/>
                      <a:pt x="44" y="1"/>
                      <a:pt x="46" y="0"/>
                    </a:cubicBezTo>
                    <a:cubicBezTo>
                      <a:pt x="47" y="0"/>
                      <a:pt x="49" y="0"/>
                      <a:pt x="50" y="0"/>
                    </a:cubicBezTo>
                    <a:cubicBezTo>
                      <a:pt x="55" y="2"/>
                      <a:pt x="55" y="2"/>
                      <a:pt x="55" y="2"/>
                    </a:cubicBezTo>
                    <a:cubicBezTo>
                      <a:pt x="56" y="3"/>
                      <a:pt x="57" y="4"/>
                      <a:pt x="58" y="5"/>
                    </a:cubicBezTo>
                    <a:cubicBezTo>
                      <a:pt x="59" y="7"/>
                      <a:pt x="59" y="9"/>
                      <a:pt x="58" y="10"/>
                    </a:cubicBezTo>
                    <a:cubicBezTo>
                      <a:pt x="57" y="13"/>
                      <a:pt x="57" y="13"/>
                      <a:pt x="57" y="13"/>
                    </a:cubicBezTo>
                    <a:cubicBezTo>
                      <a:pt x="59" y="14"/>
                      <a:pt x="60" y="16"/>
                      <a:pt x="61" y="18"/>
                    </a:cubicBezTo>
                    <a:cubicBezTo>
                      <a:pt x="64" y="16"/>
                      <a:pt x="64" y="16"/>
                      <a:pt x="64" y="16"/>
                    </a:cubicBezTo>
                    <a:cubicBezTo>
                      <a:pt x="64" y="16"/>
                      <a:pt x="64" y="16"/>
                      <a:pt x="64" y="16"/>
                    </a:cubicBezTo>
                    <a:cubicBezTo>
                      <a:pt x="68" y="15"/>
                      <a:pt x="71" y="17"/>
                      <a:pt x="73" y="20"/>
                    </a:cubicBezTo>
                    <a:cubicBezTo>
                      <a:pt x="74" y="24"/>
                      <a:pt x="74" y="24"/>
                      <a:pt x="74" y="24"/>
                    </a:cubicBezTo>
                    <a:cubicBezTo>
                      <a:pt x="76" y="27"/>
                      <a:pt x="74" y="31"/>
                      <a:pt x="71" y="32"/>
                    </a:cubicBezTo>
                    <a:cubicBezTo>
                      <a:pt x="68" y="33"/>
                      <a:pt x="68" y="33"/>
                      <a:pt x="68" y="33"/>
                    </a:cubicBezTo>
                    <a:cubicBezTo>
                      <a:pt x="68" y="35"/>
                      <a:pt x="68" y="38"/>
                      <a:pt x="68" y="40"/>
                    </a:cubicBezTo>
                    <a:cubicBezTo>
                      <a:pt x="71" y="41"/>
                      <a:pt x="71" y="41"/>
                      <a:pt x="71" y="41"/>
                    </a:cubicBezTo>
                    <a:cubicBezTo>
                      <a:pt x="74" y="42"/>
                      <a:pt x="76" y="46"/>
                      <a:pt x="75" y="49"/>
                    </a:cubicBezTo>
                    <a:cubicBezTo>
                      <a:pt x="73" y="53"/>
                      <a:pt x="73" y="53"/>
                      <a:pt x="73" y="53"/>
                    </a:cubicBezTo>
                    <a:cubicBezTo>
                      <a:pt x="72" y="55"/>
                      <a:pt x="71" y="56"/>
                      <a:pt x="70" y="57"/>
                    </a:cubicBezTo>
                    <a:cubicBezTo>
                      <a:pt x="68" y="57"/>
                      <a:pt x="66" y="57"/>
                      <a:pt x="65" y="57"/>
                    </a:cubicBezTo>
                    <a:cubicBezTo>
                      <a:pt x="62" y="56"/>
                      <a:pt x="62" y="56"/>
                      <a:pt x="62" y="56"/>
                    </a:cubicBezTo>
                    <a:cubicBezTo>
                      <a:pt x="60" y="57"/>
                      <a:pt x="59" y="59"/>
                      <a:pt x="57" y="60"/>
                    </a:cubicBezTo>
                    <a:cubicBezTo>
                      <a:pt x="59" y="63"/>
                      <a:pt x="59" y="63"/>
                      <a:pt x="59" y="63"/>
                    </a:cubicBezTo>
                    <a:cubicBezTo>
                      <a:pt x="59" y="65"/>
                      <a:pt x="59" y="66"/>
                      <a:pt x="59" y="68"/>
                    </a:cubicBezTo>
                    <a:cubicBezTo>
                      <a:pt x="58" y="70"/>
                      <a:pt x="57" y="71"/>
                      <a:pt x="55" y="72"/>
                    </a:cubicBezTo>
                    <a:cubicBezTo>
                      <a:pt x="51" y="73"/>
                      <a:pt x="51" y="73"/>
                      <a:pt x="51" y="73"/>
                    </a:cubicBezTo>
                    <a:cubicBezTo>
                      <a:pt x="50" y="74"/>
                      <a:pt x="48" y="74"/>
                      <a:pt x="46" y="73"/>
                    </a:cubicBezTo>
                    <a:cubicBezTo>
                      <a:pt x="45" y="73"/>
                      <a:pt x="43" y="71"/>
                      <a:pt x="43" y="70"/>
                    </a:cubicBezTo>
                    <a:cubicBezTo>
                      <a:pt x="42" y="67"/>
                      <a:pt x="42" y="67"/>
                      <a:pt x="42" y="67"/>
                    </a:cubicBezTo>
                    <a:cubicBezTo>
                      <a:pt x="39" y="67"/>
                      <a:pt x="37" y="67"/>
                      <a:pt x="35" y="67"/>
                    </a:cubicBezTo>
                    <a:cubicBezTo>
                      <a:pt x="34" y="70"/>
                      <a:pt x="34" y="70"/>
                      <a:pt x="34" y="70"/>
                    </a:cubicBezTo>
                    <a:cubicBezTo>
                      <a:pt x="33" y="71"/>
                      <a:pt x="32" y="73"/>
                      <a:pt x="30" y="73"/>
                    </a:cubicBezTo>
                    <a:cubicBezTo>
                      <a:pt x="30" y="74"/>
                      <a:pt x="29" y="74"/>
                      <a:pt x="28" y="74"/>
                    </a:cubicBezTo>
                    <a:close/>
                    <a:moveTo>
                      <a:pt x="23" y="61"/>
                    </a:moveTo>
                    <a:cubicBezTo>
                      <a:pt x="22" y="65"/>
                      <a:pt x="22" y="65"/>
                      <a:pt x="22" y="65"/>
                    </a:cubicBezTo>
                    <a:cubicBezTo>
                      <a:pt x="21" y="66"/>
                      <a:pt x="22" y="66"/>
                      <a:pt x="22" y="67"/>
                    </a:cubicBezTo>
                    <a:cubicBezTo>
                      <a:pt x="22" y="67"/>
                      <a:pt x="22" y="68"/>
                      <a:pt x="23" y="68"/>
                    </a:cubicBezTo>
                    <a:cubicBezTo>
                      <a:pt x="27" y="70"/>
                      <a:pt x="27" y="70"/>
                      <a:pt x="27" y="70"/>
                    </a:cubicBezTo>
                    <a:cubicBezTo>
                      <a:pt x="28" y="70"/>
                      <a:pt x="28" y="70"/>
                      <a:pt x="29" y="70"/>
                    </a:cubicBezTo>
                    <a:cubicBezTo>
                      <a:pt x="30" y="69"/>
                      <a:pt x="30" y="69"/>
                      <a:pt x="30" y="68"/>
                    </a:cubicBezTo>
                    <a:cubicBezTo>
                      <a:pt x="32" y="64"/>
                      <a:pt x="32" y="64"/>
                      <a:pt x="32" y="64"/>
                    </a:cubicBezTo>
                    <a:cubicBezTo>
                      <a:pt x="32" y="63"/>
                      <a:pt x="33" y="63"/>
                      <a:pt x="34" y="63"/>
                    </a:cubicBezTo>
                    <a:cubicBezTo>
                      <a:pt x="37" y="63"/>
                      <a:pt x="40" y="63"/>
                      <a:pt x="42" y="63"/>
                    </a:cubicBezTo>
                    <a:cubicBezTo>
                      <a:pt x="43" y="63"/>
                      <a:pt x="44" y="63"/>
                      <a:pt x="45" y="64"/>
                    </a:cubicBezTo>
                    <a:cubicBezTo>
                      <a:pt x="46" y="68"/>
                      <a:pt x="46" y="68"/>
                      <a:pt x="46" y="68"/>
                    </a:cubicBezTo>
                    <a:cubicBezTo>
                      <a:pt x="47" y="69"/>
                      <a:pt x="48" y="70"/>
                      <a:pt x="50" y="70"/>
                    </a:cubicBezTo>
                    <a:cubicBezTo>
                      <a:pt x="54" y="68"/>
                      <a:pt x="54" y="68"/>
                      <a:pt x="54" y="68"/>
                    </a:cubicBezTo>
                    <a:cubicBezTo>
                      <a:pt x="54" y="68"/>
                      <a:pt x="55" y="67"/>
                      <a:pt x="55" y="67"/>
                    </a:cubicBezTo>
                    <a:cubicBezTo>
                      <a:pt x="55" y="66"/>
                      <a:pt x="55" y="65"/>
                      <a:pt x="55" y="65"/>
                    </a:cubicBezTo>
                    <a:cubicBezTo>
                      <a:pt x="53" y="60"/>
                      <a:pt x="53" y="60"/>
                      <a:pt x="53" y="60"/>
                    </a:cubicBezTo>
                    <a:cubicBezTo>
                      <a:pt x="53" y="60"/>
                      <a:pt x="53" y="59"/>
                      <a:pt x="54" y="58"/>
                    </a:cubicBezTo>
                    <a:cubicBezTo>
                      <a:pt x="56" y="56"/>
                      <a:pt x="58" y="54"/>
                      <a:pt x="60" y="52"/>
                    </a:cubicBezTo>
                    <a:cubicBezTo>
                      <a:pt x="60" y="51"/>
                      <a:pt x="61" y="51"/>
                      <a:pt x="62" y="51"/>
                    </a:cubicBezTo>
                    <a:cubicBezTo>
                      <a:pt x="66" y="53"/>
                      <a:pt x="66" y="53"/>
                      <a:pt x="66" y="53"/>
                    </a:cubicBezTo>
                    <a:cubicBezTo>
                      <a:pt x="67" y="53"/>
                      <a:pt x="67" y="53"/>
                      <a:pt x="68" y="53"/>
                    </a:cubicBezTo>
                    <a:cubicBezTo>
                      <a:pt x="69" y="53"/>
                      <a:pt x="69" y="52"/>
                      <a:pt x="69" y="52"/>
                    </a:cubicBezTo>
                    <a:cubicBezTo>
                      <a:pt x="71" y="48"/>
                      <a:pt x="71" y="48"/>
                      <a:pt x="71" y="48"/>
                    </a:cubicBezTo>
                    <a:cubicBezTo>
                      <a:pt x="71" y="47"/>
                      <a:pt x="71" y="47"/>
                      <a:pt x="71" y="46"/>
                    </a:cubicBezTo>
                    <a:cubicBezTo>
                      <a:pt x="71" y="45"/>
                      <a:pt x="70" y="45"/>
                      <a:pt x="70" y="45"/>
                    </a:cubicBezTo>
                    <a:cubicBezTo>
                      <a:pt x="65" y="43"/>
                      <a:pt x="65" y="43"/>
                      <a:pt x="65" y="43"/>
                    </a:cubicBezTo>
                    <a:cubicBezTo>
                      <a:pt x="65" y="43"/>
                      <a:pt x="64" y="42"/>
                      <a:pt x="64" y="41"/>
                    </a:cubicBezTo>
                    <a:cubicBezTo>
                      <a:pt x="64" y="41"/>
                      <a:pt x="64" y="41"/>
                      <a:pt x="64" y="41"/>
                    </a:cubicBezTo>
                    <a:cubicBezTo>
                      <a:pt x="65" y="38"/>
                      <a:pt x="64" y="35"/>
                      <a:pt x="64" y="32"/>
                    </a:cubicBezTo>
                    <a:cubicBezTo>
                      <a:pt x="64" y="32"/>
                      <a:pt x="64" y="31"/>
                      <a:pt x="65" y="30"/>
                    </a:cubicBezTo>
                    <a:cubicBezTo>
                      <a:pt x="69" y="28"/>
                      <a:pt x="69" y="28"/>
                      <a:pt x="69" y="28"/>
                    </a:cubicBezTo>
                    <a:cubicBezTo>
                      <a:pt x="71" y="28"/>
                      <a:pt x="71" y="27"/>
                      <a:pt x="71" y="25"/>
                    </a:cubicBezTo>
                    <a:cubicBezTo>
                      <a:pt x="69" y="21"/>
                      <a:pt x="69" y="21"/>
                      <a:pt x="69" y="21"/>
                    </a:cubicBezTo>
                    <a:cubicBezTo>
                      <a:pt x="69" y="20"/>
                      <a:pt x="67" y="20"/>
                      <a:pt x="66" y="20"/>
                    </a:cubicBezTo>
                    <a:cubicBezTo>
                      <a:pt x="62" y="22"/>
                      <a:pt x="62" y="22"/>
                      <a:pt x="62" y="22"/>
                    </a:cubicBezTo>
                    <a:cubicBezTo>
                      <a:pt x="61" y="22"/>
                      <a:pt x="60" y="22"/>
                      <a:pt x="59" y="21"/>
                    </a:cubicBezTo>
                    <a:cubicBezTo>
                      <a:pt x="58" y="19"/>
                      <a:pt x="56" y="17"/>
                      <a:pt x="53" y="15"/>
                    </a:cubicBezTo>
                    <a:cubicBezTo>
                      <a:pt x="53" y="15"/>
                      <a:pt x="52" y="14"/>
                      <a:pt x="53" y="13"/>
                    </a:cubicBezTo>
                    <a:cubicBezTo>
                      <a:pt x="54" y="9"/>
                      <a:pt x="54" y="9"/>
                      <a:pt x="54" y="9"/>
                    </a:cubicBezTo>
                    <a:cubicBezTo>
                      <a:pt x="55" y="8"/>
                      <a:pt x="55" y="7"/>
                      <a:pt x="54" y="7"/>
                    </a:cubicBezTo>
                    <a:cubicBezTo>
                      <a:pt x="54" y="6"/>
                      <a:pt x="54" y="6"/>
                      <a:pt x="53" y="6"/>
                    </a:cubicBezTo>
                    <a:cubicBezTo>
                      <a:pt x="49" y="4"/>
                      <a:pt x="49" y="4"/>
                      <a:pt x="49" y="4"/>
                    </a:cubicBezTo>
                    <a:cubicBezTo>
                      <a:pt x="48" y="4"/>
                      <a:pt x="48" y="4"/>
                      <a:pt x="47" y="4"/>
                    </a:cubicBezTo>
                    <a:cubicBezTo>
                      <a:pt x="47" y="4"/>
                      <a:pt x="46" y="5"/>
                      <a:pt x="46" y="5"/>
                    </a:cubicBezTo>
                    <a:cubicBezTo>
                      <a:pt x="44" y="10"/>
                      <a:pt x="44" y="10"/>
                      <a:pt x="44" y="10"/>
                    </a:cubicBezTo>
                    <a:cubicBezTo>
                      <a:pt x="44" y="10"/>
                      <a:pt x="43" y="11"/>
                      <a:pt x="42" y="11"/>
                    </a:cubicBezTo>
                    <a:cubicBezTo>
                      <a:pt x="39" y="10"/>
                      <a:pt x="36" y="10"/>
                      <a:pt x="34" y="11"/>
                    </a:cubicBezTo>
                    <a:cubicBezTo>
                      <a:pt x="33" y="11"/>
                      <a:pt x="32" y="11"/>
                      <a:pt x="32" y="10"/>
                    </a:cubicBezTo>
                    <a:cubicBezTo>
                      <a:pt x="30" y="5"/>
                      <a:pt x="30" y="5"/>
                      <a:pt x="30" y="5"/>
                    </a:cubicBezTo>
                    <a:cubicBezTo>
                      <a:pt x="29" y="4"/>
                      <a:pt x="28" y="4"/>
                      <a:pt x="27" y="4"/>
                    </a:cubicBezTo>
                    <a:cubicBezTo>
                      <a:pt x="23" y="6"/>
                      <a:pt x="23" y="6"/>
                      <a:pt x="23" y="6"/>
                    </a:cubicBezTo>
                    <a:cubicBezTo>
                      <a:pt x="21" y="6"/>
                      <a:pt x="21" y="8"/>
                      <a:pt x="21" y="9"/>
                    </a:cubicBezTo>
                    <a:cubicBezTo>
                      <a:pt x="23" y="13"/>
                      <a:pt x="23" y="13"/>
                      <a:pt x="23" y="13"/>
                    </a:cubicBezTo>
                    <a:cubicBezTo>
                      <a:pt x="23" y="14"/>
                      <a:pt x="23" y="15"/>
                      <a:pt x="22" y="16"/>
                    </a:cubicBezTo>
                    <a:cubicBezTo>
                      <a:pt x="20" y="17"/>
                      <a:pt x="18" y="19"/>
                      <a:pt x="17" y="22"/>
                    </a:cubicBezTo>
                    <a:cubicBezTo>
                      <a:pt x="16" y="22"/>
                      <a:pt x="15" y="23"/>
                      <a:pt x="14" y="22"/>
                    </a:cubicBezTo>
                    <a:cubicBezTo>
                      <a:pt x="10" y="21"/>
                      <a:pt x="10" y="21"/>
                      <a:pt x="10" y="21"/>
                    </a:cubicBezTo>
                    <a:cubicBezTo>
                      <a:pt x="9" y="20"/>
                      <a:pt x="9" y="20"/>
                      <a:pt x="8" y="21"/>
                    </a:cubicBezTo>
                    <a:cubicBezTo>
                      <a:pt x="7" y="21"/>
                      <a:pt x="7" y="21"/>
                      <a:pt x="7" y="22"/>
                    </a:cubicBezTo>
                    <a:cubicBezTo>
                      <a:pt x="5" y="26"/>
                      <a:pt x="5" y="26"/>
                      <a:pt x="5" y="26"/>
                    </a:cubicBezTo>
                    <a:cubicBezTo>
                      <a:pt x="5" y="27"/>
                      <a:pt x="5" y="29"/>
                      <a:pt x="6" y="29"/>
                    </a:cubicBezTo>
                    <a:cubicBezTo>
                      <a:pt x="11" y="31"/>
                      <a:pt x="11" y="31"/>
                      <a:pt x="11" y="31"/>
                    </a:cubicBezTo>
                    <a:cubicBezTo>
                      <a:pt x="12" y="31"/>
                      <a:pt x="12" y="32"/>
                      <a:pt x="12" y="33"/>
                    </a:cubicBezTo>
                    <a:cubicBezTo>
                      <a:pt x="12" y="36"/>
                      <a:pt x="12" y="38"/>
                      <a:pt x="12" y="41"/>
                    </a:cubicBezTo>
                    <a:cubicBezTo>
                      <a:pt x="12" y="42"/>
                      <a:pt x="12" y="43"/>
                      <a:pt x="11" y="43"/>
                    </a:cubicBezTo>
                    <a:cubicBezTo>
                      <a:pt x="7" y="45"/>
                      <a:pt x="7" y="45"/>
                      <a:pt x="7" y="45"/>
                    </a:cubicBezTo>
                    <a:cubicBezTo>
                      <a:pt x="5" y="46"/>
                      <a:pt x="5" y="47"/>
                      <a:pt x="5" y="48"/>
                    </a:cubicBezTo>
                    <a:cubicBezTo>
                      <a:pt x="7" y="52"/>
                      <a:pt x="7" y="52"/>
                      <a:pt x="7" y="52"/>
                    </a:cubicBezTo>
                    <a:cubicBezTo>
                      <a:pt x="7" y="53"/>
                      <a:pt x="8" y="53"/>
                      <a:pt x="8" y="54"/>
                    </a:cubicBezTo>
                    <a:cubicBezTo>
                      <a:pt x="9" y="54"/>
                      <a:pt x="10" y="54"/>
                      <a:pt x="10" y="54"/>
                    </a:cubicBezTo>
                    <a:cubicBezTo>
                      <a:pt x="14" y="52"/>
                      <a:pt x="14" y="52"/>
                      <a:pt x="14" y="52"/>
                    </a:cubicBezTo>
                    <a:cubicBezTo>
                      <a:pt x="15" y="51"/>
                      <a:pt x="16" y="52"/>
                      <a:pt x="17" y="52"/>
                    </a:cubicBezTo>
                    <a:cubicBezTo>
                      <a:pt x="19" y="55"/>
                      <a:pt x="21" y="57"/>
                      <a:pt x="23" y="58"/>
                    </a:cubicBezTo>
                    <a:cubicBezTo>
                      <a:pt x="23" y="58"/>
                      <a:pt x="23" y="58"/>
                      <a:pt x="23" y="59"/>
                    </a:cubicBezTo>
                    <a:cubicBezTo>
                      <a:pt x="24" y="59"/>
                      <a:pt x="24" y="60"/>
                      <a:pt x="2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8" name="TextBox 87">
              <a:extLst>
                <a:ext uri="{FF2B5EF4-FFF2-40B4-BE49-F238E27FC236}">
                  <a16:creationId xmlns:a16="http://schemas.microsoft.com/office/drawing/2014/main" id="{EDB0CFA3-7D15-98B3-DD3E-B4CADCAE633C}"/>
                </a:ext>
              </a:extLst>
            </p:cNvPr>
            <p:cNvSpPr txBox="1"/>
            <p:nvPr/>
          </p:nvSpPr>
          <p:spPr>
            <a:xfrm>
              <a:off x="9743916" y="3816642"/>
              <a:ext cx="1554723" cy="557565"/>
            </a:xfrm>
            <a:prstGeom prst="rect">
              <a:avLst/>
            </a:prstGeom>
            <a:noFill/>
          </p:spPr>
          <p:txBody>
            <a:bodyPr wrap="none" rtlCol="0">
              <a:spAutoFit/>
            </a:bodyPr>
            <a:lstStyle/>
            <a:p>
              <a:r>
                <a:rPr lang="en-US" sz="1400" b="1" dirty="0"/>
                <a:t>Automation &amp; </a:t>
              </a:r>
            </a:p>
            <a:p>
              <a:r>
                <a:rPr lang="en-US" sz="1400" b="1" dirty="0"/>
                <a:t>manageability</a:t>
              </a:r>
            </a:p>
          </p:txBody>
        </p:sp>
        <p:pic>
          <p:nvPicPr>
            <p:cNvPr id="90" name="Graphic 89">
              <a:extLst>
                <a:ext uri="{FF2B5EF4-FFF2-40B4-BE49-F238E27FC236}">
                  <a16:creationId xmlns:a16="http://schemas.microsoft.com/office/drawing/2014/main" id="{2D0E4E2A-B25F-16E6-FD23-4235A29C490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34131" y="4579088"/>
              <a:ext cx="504879" cy="516759"/>
            </a:xfrm>
            <a:prstGeom prst="rect">
              <a:avLst/>
            </a:prstGeom>
          </p:spPr>
        </p:pic>
        <p:sp>
          <p:nvSpPr>
            <p:cNvPr id="92" name="TextBox 91">
              <a:extLst>
                <a:ext uri="{FF2B5EF4-FFF2-40B4-BE49-F238E27FC236}">
                  <a16:creationId xmlns:a16="http://schemas.microsoft.com/office/drawing/2014/main" id="{20147036-D2AC-7EF6-A915-BF4EC1E6CC26}"/>
                </a:ext>
              </a:extLst>
            </p:cNvPr>
            <p:cNvSpPr txBox="1"/>
            <p:nvPr/>
          </p:nvSpPr>
          <p:spPr>
            <a:xfrm>
              <a:off x="8874161" y="4748270"/>
              <a:ext cx="1752410" cy="307777"/>
            </a:xfrm>
            <a:prstGeom prst="rect">
              <a:avLst/>
            </a:prstGeom>
            <a:noFill/>
          </p:spPr>
          <p:txBody>
            <a:bodyPr wrap="square" rtlCol="0">
              <a:spAutoFit/>
            </a:bodyPr>
            <a:lstStyle/>
            <a:p>
              <a:r>
                <a:rPr lang="en-US" sz="1400" b="1" dirty="0"/>
                <a:t>Vendor diversity</a:t>
              </a:r>
            </a:p>
          </p:txBody>
        </p:sp>
        <p:grpSp>
          <p:nvGrpSpPr>
            <p:cNvPr id="93" name="Group 92">
              <a:extLst>
                <a:ext uri="{FF2B5EF4-FFF2-40B4-BE49-F238E27FC236}">
                  <a16:creationId xmlns:a16="http://schemas.microsoft.com/office/drawing/2014/main" id="{2188937D-0518-F932-AD80-F01026601850}"/>
                </a:ext>
              </a:extLst>
            </p:cNvPr>
            <p:cNvGrpSpPr/>
            <p:nvPr/>
          </p:nvGrpSpPr>
          <p:grpSpPr>
            <a:xfrm>
              <a:off x="6451247" y="3255978"/>
              <a:ext cx="513911" cy="587993"/>
              <a:chOff x="8188781" y="1806893"/>
              <a:chExt cx="632268" cy="714561"/>
            </a:xfrm>
            <a:solidFill>
              <a:srgbClr val="7030A0"/>
            </a:solidFill>
          </p:grpSpPr>
          <p:sp>
            <p:nvSpPr>
              <p:cNvPr id="94" name="Freeform: Shape 93">
                <a:extLst>
                  <a:ext uri="{FF2B5EF4-FFF2-40B4-BE49-F238E27FC236}">
                    <a16:creationId xmlns:a16="http://schemas.microsoft.com/office/drawing/2014/main" id="{DD92AACF-C87F-2BED-F50C-32F49B3D449A}"/>
                  </a:ext>
                </a:extLst>
              </p:cNvPr>
              <p:cNvSpPr/>
              <p:nvPr/>
            </p:nvSpPr>
            <p:spPr>
              <a:xfrm>
                <a:off x="8424524" y="2128746"/>
                <a:ext cx="160782" cy="160782"/>
              </a:xfrm>
              <a:custGeom>
                <a:avLst/>
                <a:gdLst>
                  <a:gd name="connsiteX0" fmla="*/ 80260 w 160782"/>
                  <a:gd name="connsiteY0" fmla="*/ 160439 h 160782"/>
                  <a:gd name="connsiteX1" fmla="*/ -131 w 160782"/>
                  <a:gd name="connsiteY1" fmla="*/ 80048 h 160782"/>
                  <a:gd name="connsiteX2" fmla="*/ 80260 w 160782"/>
                  <a:gd name="connsiteY2" fmla="*/ -343 h 160782"/>
                  <a:gd name="connsiteX3" fmla="*/ 160651 w 160782"/>
                  <a:gd name="connsiteY3" fmla="*/ 80048 h 160782"/>
                  <a:gd name="connsiteX4" fmla="*/ 80260 w 160782"/>
                  <a:gd name="connsiteY4" fmla="*/ 160439 h 160782"/>
                  <a:gd name="connsiteX5" fmla="*/ 80260 w 160782"/>
                  <a:gd name="connsiteY5" fmla="*/ 18802 h 160782"/>
                  <a:gd name="connsiteX6" fmla="*/ 18919 w 160782"/>
                  <a:gd name="connsiteY6" fmla="*/ 80143 h 160782"/>
                  <a:gd name="connsiteX7" fmla="*/ 80260 w 160782"/>
                  <a:gd name="connsiteY7" fmla="*/ 141484 h 160782"/>
                  <a:gd name="connsiteX8" fmla="*/ 141601 w 160782"/>
                  <a:gd name="connsiteY8" fmla="*/ 80143 h 160782"/>
                  <a:gd name="connsiteX9" fmla="*/ 141601 w 160782"/>
                  <a:gd name="connsiteY9" fmla="*/ 80048 h 160782"/>
                  <a:gd name="connsiteX10" fmla="*/ 80260 w 160782"/>
                  <a:gd name="connsiteY10" fmla="*/ 18802 h 160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0782" h="160782">
                    <a:moveTo>
                      <a:pt x="80260" y="160439"/>
                    </a:moveTo>
                    <a:cubicBezTo>
                      <a:pt x="35864" y="160439"/>
                      <a:pt x="-131" y="124444"/>
                      <a:pt x="-131" y="80048"/>
                    </a:cubicBezTo>
                    <a:cubicBezTo>
                      <a:pt x="-131" y="35652"/>
                      <a:pt x="35864" y="-343"/>
                      <a:pt x="80260" y="-343"/>
                    </a:cubicBezTo>
                    <a:cubicBezTo>
                      <a:pt x="124656" y="-343"/>
                      <a:pt x="160651" y="35652"/>
                      <a:pt x="160651" y="80048"/>
                    </a:cubicBezTo>
                    <a:cubicBezTo>
                      <a:pt x="160594" y="124425"/>
                      <a:pt x="124637" y="160382"/>
                      <a:pt x="80260" y="160439"/>
                    </a:cubicBezTo>
                    <a:close/>
                    <a:moveTo>
                      <a:pt x="80260" y="18802"/>
                    </a:moveTo>
                    <a:cubicBezTo>
                      <a:pt x="46380" y="18802"/>
                      <a:pt x="18919" y="46263"/>
                      <a:pt x="18919" y="80143"/>
                    </a:cubicBezTo>
                    <a:cubicBezTo>
                      <a:pt x="18919" y="114024"/>
                      <a:pt x="46380" y="141484"/>
                      <a:pt x="80260" y="141484"/>
                    </a:cubicBezTo>
                    <a:cubicBezTo>
                      <a:pt x="114141" y="141484"/>
                      <a:pt x="141601" y="114024"/>
                      <a:pt x="141601" y="80143"/>
                    </a:cubicBezTo>
                    <a:cubicBezTo>
                      <a:pt x="141601" y="80114"/>
                      <a:pt x="141601" y="80076"/>
                      <a:pt x="141601" y="80048"/>
                    </a:cubicBezTo>
                    <a:cubicBezTo>
                      <a:pt x="141497" y="46225"/>
                      <a:pt x="114084" y="18859"/>
                      <a:pt x="80260" y="18802"/>
                    </a:cubicBezTo>
                    <a:close/>
                  </a:path>
                </a:pathLst>
              </a:custGeom>
              <a:grpFill/>
              <a:ln w="9525"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587DF20D-7FE5-5E65-C13B-AB9BCB0CE955}"/>
                  </a:ext>
                </a:extLst>
              </p:cNvPr>
              <p:cNvSpPr/>
              <p:nvPr/>
            </p:nvSpPr>
            <p:spPr>
              <a:xfrm>
                <a:off x="8600070" y="2427451"/>
                <a:ext cx="51434" cy="19050"/>
              </a:xfrm>
              <a:custGeom>
                <a:avLst/>
                <a:gdLst>
                  <a:gd name="connsiteX0" fmla="*/ 0 w 51434"/>
                  <a:gd name="connsiteY0" fmla="*/ 0 h 19050"/>
                  <a:gd name="connsiteX1" fmla="*/ 51435 w 51434"/>
                  <a:gd name="connsiteY1" fmla="*/ 0 h 19050"/>
                  <a:gd name="connsiteX2" fmla="*/ 51435 w 51434"/>
                  <a:gd name="connsiteY2" fmla="*/ 19050 h 19050"/>
                  <a:gd name="connsiteX3" fmla="*/ 0 w 51434"/>
                  <a:gd name="connsiteY3" fmla="*/ 19050 h 19050"/>
                </a:gdLst>
                <a:ahLst/>
                <a:cxnLst>
                  <a:cxn ang="0">
                    <a:pos x="connsiteX0" y="connsiteY0"/>
                  </a:cxn>
                  <a:cxn ang="0">
                    <a:pos x="connsiteX1" y="connsiteY1"/>
                  </a:cxn>
                  <a:cxn ang="0">
                    <a:pos x="connsiteX2" y="connsiteY2"/>
                  </a:cxn>
                  <a:cxn ang="0">
                    <a:pos x="connsiteX3" y="connsiteY3"/>
                  </a:cxn>
                </a:cxnLst>
                <a:rect l="l" t="t" r="r" b="b"/>
                <a:pathLst>
                  <a:path w="51434" h="19050">
                    <a:moveTo>
                      <a:pt x="0" y="0"/>
                    </a:moveTo>
                    <a:lnTo>
                      <a:pt x="51435" y="0"/>
                    </a:lnTo>
                    <a:lnTo>
                      <a:pt x="51435" y="19050"/>
                    </a:lnTo>
                    <a:lnTo>
                      <a:pt x="0" y="19050"/>
                    </a:lnTo>
                    <a:close/>
                  </a:path>
                </a:pathLst>
              </a:custGeom>
              <a:grpFill/>
              <a:ln w="9525"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5EF39476-F08A-E5E1-3F45-B1622A77180E}"/>
                  </a:ext>
                </a:extLst>
              </p:cNvPr>
              <p:cNvSpPr/>
              <p:nvPr/>
            </p:nvSpPr>
            <p:spPr>
              <a:xfrm>
                <a:off x="8358230" y="2427451"/>
                <a:ext cx="51434" cy="19050"/>
              </a:xfrm>
              <a:custGeom>
                <a:avLst/>
                <a:gdLst>
                  <a:gd name="connsiteX0" fmla="*/ 0 w 51434"/>
                  <a:gd name="connsiteY0" fmla="*/ 0 h 19050"/>
                  <a:gd name="connsiteX1" fmla="*/ 51435 w 51434"/>
                  <a:gd name="connsiteY1" fmla="*/ 0 h 19050"/>
                  <a:gd name="connsiteX2" fmla="*/ 51435 w 51434"/>
                  <a:gd name="connsiteY2" fmla="*/ 19050 h 19050"/>
                  <a:gd name="connsiteX3" fmla="*/ 0 w 51434"/>
                  <a:gd name="connsiteY3" fmla="*/ 19050 h 19050"/>
                </a:gdLst>
                <a:ahLst/>
                <a:cxnLst>
                  <a:cxn ang="0">
                    <a:pos x="connsiteX0" y="connsiteY0"/>
                  </a:cxn>
                  <a:cxn ang="0">
                    <a:pos x="connsiteX1" y="connsiteY1"/>
                  </a:cxn>
                  <a:cxn ang="0">
                    <a:pos x="connsiteX2" y="connsiteY2"/>
                  </a:cxn>
                  <a:cxn ang="0">
                    <a:pos x="connsiteX3" y="connsiteY3"/>
                  </a:cxn>
                </a:cxnLst>
                <a:rect l="l" t="t" r="r" b="b"/>
                <a:pathLst>
                  <a:path w="51434" h="19050">
                    <a:moveTo>
                      <a:pt x="0" y="0"/>
                    </a:moveTo>
                    <a:lnTo>
                      <a:pt x="51435" y="0"/>
                    </a:lnTo>
                    <a:lnTo>
                      <a:pt x="51435" y="19050"/>
                    </a:lnTo>
                    <a:lnTo>
                      <a:pt x="0" y="19050"/>
                    </a:lnTo>
                    <a:close/>
                  </a:path>
                </a:pathLst>
              </a:custGeom>
              <a:grpFill/>
              <a:ln w="9525" cap="flat">
                <a:noFill/>
                <a:prstDash val="solid"/>
                <a:miter/>
              </a:ln>
            </p:spPr>
            <p:txBody>
              <a:bodyPr rtlCol="0" anchor="ctr"/>
              <a:lstStyle/>
              <a:p>
                <a:endParaRPr lang="en-US"/>
              </a:p>
            </p:txBody>
          </p:sp>
          <p:sp>
            <p:nvSpPr>
              <p:cNvPr id="97" name="Freeform: Shape 96">
                <a:extLst>
                  <a:ext uri="{FF2B5EF4-FFF2-40B4-BE49-F238E27FC236}">
                    <a16:creationId xmlns:a16="http://schemas.microsoft.com/office/drawing/2014/main" id="{48DDE2B8-7B82-F55B-FB48-4EE3CA63B758}"/>
                  </a:ext>
                </a:extLst>
              </p:cNvPr>
              <p:cNvSpPr/>
              <p:nvPr/>
            </p:nvSpPr>
            <p:spPr>
              <a:xfrm>
                <a:off x="8372792" y="2462017"/>
                <a:ext cx="264349" cy="59437"/>
              </a:xfrm>
              <a:custGeom>
                <a:avLst/>
                <a:gdLst>
                  <a:gd name="connsiteX0" fmla="*/ 224290 w 264349"/>
                  <a:gd name="connsiteY0" fmla="*/ 59007 h 59437"/>
                  <a:gd name="connsiteX1" fmla="*/ 41506 w 264349"/>
                  <a:gd name="connsiteY1" fmla="*/ 59007 h 59437"/>
                  <a:gd name="connsiteX2" fmla="*/ 28266 w 264349"/>
                  <a:gd name="connsiteY2" fmla="*/ 52530 h 59437"/>
                  <a:gd name="connsiteX3" fmla="*/ 1310 w 264349"/>
                  <a:gd name="connsiteY3" fmla="*/ 19764 h 59437"/>
                  <a:gd name="connsiteX4" fmla="*/ 1977 w 264349"/>
                  <a:gd name="connsiteY4" fmla="*/ 5952 h 59437"/>
                  <a:gd name="connsiteX5" fmla="*/ 13978 w 264349"/>
                  <a:gd name="connsiteY5" fmla="*/ -239 h 59437"/>
                  <a:gd name="connsiteX6" fmla="*/ 36838 w 264349"/>
                  <a:gd name="connsiteY6" fmla="*/ -239 h 59437"/>
                  <a:gd name="connsiteX7" fmla="*/ 36838 w 264349"/>
                  <a:gd name="connsiteY7" fmla="*/ 18811 h 59437"/>
                  <a:gd name="connsiteX8" fmla="*/ 24837 w 264349"/>
                  <a:gd name="connsiteY8" fmla="*/ 18811 h 59437"/>
                  <a:gd name="connsiteX9" fmla="*/ 42553 w 264349"/>
                  <a:gd name="connsiteY9" fmla="*/ 40338 h 59437"/>
                  <a:gd name="connsiteX10" fmla="*/ 223052 w 264349"/>
                  <a:gd name="connsiteY10" fmla="*/ 40338 h 59437"/>
                  <a:gd name="connsiteX11" fmla="*/ 239625 w 264349"/>
                  <a:gd name="connsiteY11" fmla="*/ 18716 h 59437"/>
                  <a:gd name="connsiteX12" fmla="*/ 227243 w 264349"/>
                  <a:gd name="connsiteY12" fmla="*/ 18716 h 59437"/>
                  <a:gd name="connsiteX13" fmla="*/ 227243 w 264349"/>
                  <a:gd name="connsiteY13" fmla="*/ -334 h 59437"/>
                  <a:gd name="connsiteX14" fmla="*/ 250103 w 264349"/>
                  <a:gd name="connsiteY14" fmla="*/ -334 h 59437"/>
                  <a:gd name="connsiteX15" fmla="*/ 264210 w 264349"/>
                  <a:gd name="connsiteY15" fmla="*/ 12782 h 59437"/>
                  <a:gd name="connsiteX16" fmla="*/ 262676 w 264349"/>
                  <a:gd name="connsiteY16" fmla="*/ 19573 h 59437"/>
                  <a:gd name="connsiteX17" fmla="*/ 261533 w 264349"/>
                  <a:gd name="connsiteY17" fmla="*/ 21478 h 59437"/>
                  <a:gd name="connsiteX18" fmla="*/ 237435 w 264349"/>
                  <a:gd name="connsiteY18" fmla="*/ 52911 h 59437"/>
                  <a:gd name="connsiteX19" fmla="*/ 224290 w 264349"/>
                  <a:gd name="connsiteY19" fmla="*/ 59007 h 59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64349" h="59437">
                    <a:moveTo>
                      <a:pt x="224290" y="59007"/>
                    </a:moveTo>
                    <a:lnTo>
                      <a:pt x="41506" y="59007"/>
                    </a:lnTo>
                    <a:cubicBezTo>
                      <a:pt x="36210" y="59607"/>
                      <a:pt x="31047" y="57083"/>
                      <a:pt x="28266" y="52530"/>
                    </a:cubicBezTo>
                    <a:lnTo>
                      <a:pt x="1310" y="19764"/>
                    </a:lnTo>
                    <a:cubicBezTo>
                      <a:pt x="-824" y="15344"/>
                      <a:pt x="-576" y="10143"/>
                      <a:pt x="1977" y="5952"/>
                    </a:cubicBezTo>
                    <a:cubicBezTo>
                      <a:pt x="4663" y="1981"/>
                      <a:pt x="9187" y="-353"/>
                      <a:pt x="13978" y="-239"/>
                    </a:cubicBezTo>
                    <a:lnTo>
                      <a:pt x="36838" y="-239"/>
                    </a:lnTo>
                    <a:lnTo>
                      <a:pt x="36838" y="18811"/>
                    </a:lnTo>
                    <a:lnTo>
                      <a:pt x="24837" y="18811"/>
                    </a:lnTo>
                    <a:lnTo>
                      <a:pt x="42553" y="40338"/>
                    </a:lnTo>
                    <a:lnTo>
                      <a:pt x="223052" y="40338"/>
                    </a:lnTo>
                    <a:lnTo>
                      <a:pt x="239625" y="18716"/>
                    </a:lnTo>
                    <a:lnTo>
                      <a:pt x="227243" y="18716"/>
                    </a:lnTo>
                    <a:lnTo>
                      <a:pt x="227243" y="-334"/>
                    </a:lnTo>
                    <a:lnTo>
                      <a:pt x="250103" y="-334"/>
                    </a:lnTo>
                    <a:cubicBezTo>
                      <a:pt x="257618" y="-610"/>
                      <a:pt x="263933" y="5267"/>
                      <a:pt x="264210" y="12782"/>
                    </a:cubicBezTo>
                    <a:cubicBezTo>
                      <a:pt x="264295" y="15144"/>
                      <a:pt x="263762" y="17478"/>
                      <a:pt x="262676" y="19573"/>
                    </a:cubicBezTo>
                    <a:lnTo>
                      <a:pt x="261533" y="21478"/>
                    </a:lnTo>
                    <a:lnTo>
                      <a:pt x="237435" y="52911"/>
                    </a:lnTo>
                    <a:cubicBezTo>
                      <a:pt x="234339" y="56997"/>
                      <a:pt x="229415" y="59283"/>
                      <a:pt x="224290" y="59007"/>
                    </a:cubicBezTo>
                    <a:close/>
                  </a:path>
                </a:pathLst>
              </a:custGeom>
              <a:grpFill/>
              <a:ln w="9525" cap="flat">
                <a:noFill/>
                <a:prstDash val="solid"/>
                <a:miter/>
              </a:ln>
            </p:spPr>
            <p:txBody>
              <a:bodyPr rtlCol="0" anchor="ctr"/>
              <a:lstStyle/>
              <a:p>
                <a:endParaRPr lang="en-US"/>
              </a:p>
            </p:txBody>
          </p:sp>
          <p:sp>
            <p:nvSpPr>
              <p:cNvPr id="98" name="Freeform: Shape 97">
                <a:extLst>
                  <a:ext uri="{FF2B5EF4-FFF2-40B4-BE49-F238E27FC236}">
                    <a16:creationId xmlns:a16="http://schemas.microsoft.com/office/drawing/2014/main" id="{21D3C46F-EA2A-B0E9-F413-AFBFCDEE970A}"/>
                  </a:ext>
                </a:extLst>
              </p:cNvPr>
              <p:cNvSpPr/>
              <p:nvPr/>
            </p:nvSpPr>
            <p:spPr>
              <a:xfrm>
                <a:off x="8371280" y="2295459"/>
                <a:ext cx="268128" cy="141516"/>
              </a:xfrm>
              <a:custGeom>
                <a:avLst/>
                <a:gdLst>
                  <a:gd name="connsiteX0" fmla="*/ 267998 w 268128"/>
                  <a:gd name="connsiteY0" fmla="*/ 141174 h 141516"/>
                  <a:gd name="connsiteX1" fmla="*/ 248948 w 268128"/>
                  <a:gd name="connsiteY1" fmla="*/ 141174 h 141516"/>
                  <a:gd name="connsiteX2" fmla="*/ 248948 w 268128"/>
                  <a:gd name="connsiteY2" fmla="*/ 96977 h 141516"/>
                  <a:gd name="connsiteX3" fmla="*/ 179320 w 268128"/>
                  <a:gd name="connsiteY3" fmla="*/ 20777 h 141516"/>
                  <a:gd name="connsiteX4" fmla="*/ 139506 w 268128"/>
                  <a:gd name="connsiteY4" fmla="*/ 52972 h 141516"/>
                  <a:gd name="connsiteX5" fmla="*/ 127504 w 268128"/>
                  <a:gd name="connsiteY5" fmla="*/ 52972 h 141516"/>
                  <a:gd name="connsiteX6" fmla="*/ 87023 w 268128"/>
                  <a:gd name="connsiteY6" fmla="*/ 19444 h 141516"/>
                  <a:gd name="connsiteX7" fmla="*/ 18919 w 268128"/>
                  <a:gd name="connsiteY7" fmla="*/ 96977 h 141516"/>
                  <a:gd name="connsiteX8" fmla="*/ 18919 w 268128"/>
                  <a:gd name="connsiteY8" fmla="*/ 141174 h 141516"/>
                  <a:gd name="connsiteX9" fmla="*/ -131 w 268128"/>
                  <a:gd name="connsiteY9" fmla="*/ 141174 h 141516"/>
                  <a:gd name="connsiteX10" fmla="*/ -131 w 268128"/>
                  <a:gd name="connsiteY10" fmla="*/ 96977 h 141516"/>
                  <a:gd name="connsiteX11" fmla="*/ 87785 w 268128"/>
                  <a:gd name="connsiteY11" fmla="*/ -177 h 141516"/>
                  <a:gd name="connsiteX12" fmla="*/ 95595 w 268128"/>
                  <a:gd name="connsiteY12" fmla="*/ 1823 h 141516"/>
                  <a:gd name="connsiteX13" fmla="*/ 133695 w 268128"/>
                  <a:gd name="connsiteY13" fmla="*/ 32969 h 141516"/>
                  <a:gd name="connsiteX14" fmla="*/ 170748 w 268128"/>
                  <a:gd name="connsiteY14" fmla="*/ 2870 h 141516"/>
                  <a:gd name="connsiteX15" fmla="*/ 178844 w 268128"/>
                  <a:gd name="connsiteY15" fmla="*/ 1061 h 141516"/>
                  <a:gd name="connsiteX16" fmla="*/ 267712 w 268128"/>
                  <a:gd name="connsiteY16" fmla="*/ 96977 h 141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8128" h="141516">
                    <a:moveTo>
                      <a:pt x="267998" y="141174"/>
                    </a:moveTo>
                    <a:lnTo>
                      <a:pt x="248948" y="141174"/>
                    </a:lnTo>
                    <a:lnTo>
                      <a:pt x="248948" y="96977"/>
                    </a:lnTo>
                    <a:cubicBezTo>
                      <a:pt x="248948" y="60020"/>
                      <a:pt x="223707" y="32398"/>
                      <a:pt x="179320" y="20777"/>
                    </a:cubicBezTo>
                    <a:lnTo>
                      <a:pt x="139506" y="52972"/>
                    </a:lnTo>
                    <a:cubicBezTo>
                      <a:pt x="136010" y="55810"/>
                      <a:pt x="131000" y="55810"/>
                      <a:pt x="127504" y="52972"/>
                    </a:cubicBezTo>
                    <a:lnTo>
                      <a:pt x="87023" y="19444"/>
                    </a:lnTo>
                    <a:cubicBezTo>
                      <a:pt x="41208" y="28969"/>
                      <a:pt x="18919" y="54591"/>
                      <a:pt x="18919" y="96977"/>
                    </a:cubicBezTo>
                    <a:lnTo>
                      <a:pt x="18919" y="141174"/>
                    </a:lnTo>
                    <a:lnTo>
                      <a:pt x="-131" y="141174"/>
                    </a:lnTo>
                    <a:lnTo>
                      <a:pt x="-131" y="96977"/>
                    </a:lnTo>
                    <a:cubicBezTo>
                      <a:pt x="-131" y="44209"/>
                      <a:pt x="30254" y="10586"/>
                      <a:pt x="87785" y="-177"/>
                    </a:cubicBezTo>
                    <a:cubicBezTo>
                      <a:pt x="90557" y="-702"/>
                      <a:pt x="93414" y="32"/>
                      <a:pt x="95595" y="1823"/>
                    </a:cubicBezTo>
                    <a:lnTo>
                      <a:pt x="133695" y="32969"/>
                    </a:lnTo>
                    <a:lnTo>
                      <a:pt x="170748" y="2870"/>
                    </a:lnTo>
                    <a:cubicBezTo>
                      <a:pt x="173024" y="1061"/>
                      <a:pt x="176015" y="394"/>
                      <a:pt x="178844" y="1061"/>
                    </a:cubicBezTo>
                    <a:cubicBezTo>
                      <a:pt x="234565" y="14015"/>
                      <a:pt x="267712" y="49924"/>
                      <a:pt x="267712" y="96977"/>
                    </a:cubicBezTo>
                    <a:close/>
                  </a:path>
                </a:pathLst>
              </a:custGeom>
              <a:grpFill/>
              <a:ln w="9525" cap="flat">
                <a:noFill/>
                <a:prstDash val="solid"/>
                <a:miter/>
              </a:ln>
            </p:spPr>
            <p:txBody>
              <a:bodyPr rtlCol="0" anchor="ctr"/>
              <a:lstStyle/>
              <a:p>
                <a:endParaRPr lang="en-US"/>
              </a:p>
            </p:txBody>
          </p:sp>
          <p:sp>
            <p:nvSpPr>
              <p:cNvPr id="99" name="Freeform: Shape 98">
                <a:extLst>
                  <a:ext uri="{FF2B5EF4-FFF2-40B4-BE49-F238E27FC236}">
                    <a16:creationId xmlns:a16="http://schemas.microsoft.com/office/drawing/2014/main" id="{45615E5C-12B3-25A8-CCE5-0D68EE5449BC}"/>
                  </a:ext>
                </a:extLst>
              </p:cNvPr>
              <p:cNvSpPr/>
              <p:nvPr/>
            </p:nvSpPr>
            <p:spPr>
              <a:xfrm>
                <a:off x="8400140" y="2368205"/>
                <a:ext cx="209550" cy="143160"/>
              </a:xfrm>
              <a:custGeom>
                <a:avLst/>
                <a:gdLst>
                  <a:gd name="connsiteX0" fmla="*/ 209419 w 209550"/>
                  <a:gd name="connsiteY0" fmla="*/ 142818 h 143160"/>
                  <a:gd name="connsiteX1" fmla="*/ 190369 w 209550"/>
                  <a:gd name="connsiteY1" fmla="*/ 142818 h 143160"/>
                  <a:gd name="connsiteX2" fmla="*/ 190369 w 209550"/>
                  <a:gd name="connsiteY2" fmla="*/ 18326 h 143160"/>
                  <a:gd name="connsiteX3" fmla="*/ 18919 w 209550"/>
                  <a:gd name="connsiteY3" fmla="*/ 18326 h 143160"/>
                  <a:gd name="connsiteX4" fmla="*/ 18919 w 209550"/>
                  <a:gd name="connsiteY4" fmla="*/ 142151 h 143160"/>
                  <a:gd name="connsiteX5" fmla="*/ -131 w 209550"/>
                  <a:gd name="connsiteY5" fmla="*/ 142151 h 143160"/>
                  <a:gd name="connsiteX6" fmla="*/ -131 w 209550"/>
                  <a:gd name="connsiteY6" fmla="*/ 14897 h 143160"/>
                  <a:gd name="connsiteX7" fmla="*/ 15109 w 209550"/>
                  <a:gd name="connsiteY7" fmla="*/ -343 h 143160"/>
                  <a:gd name="connsiteX8" fmla="*/ 193989 w 209550"/>
                  <a:gd name="connsiteY8" fmla="*/ -343 h 143160"/>
                  <a:gd name="connsiteX9" fmla="*/ 209324 w 209550"/>
                  <a:gd name="connsiteY9" fmla="*/ 14897 h 14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550" h="143160">
                    <a:moveTo>
                      <a:pt x="209419" y="142818"/>
                    </a:moveTo>
                    <a:lnTo>
                      <a:pt x="190369" y="142818"/>
                    </a:lnTo>
                    <a:lnTo>
                      <a:pt x="190369" y="18326"/>
                    </a:lnTo>
                    <a:lnTo>
                      <a:pt x="18919" y="18326"/>
                    </a:lnTo>
                    <a:lnTo>
                      <a:pt x="18919" y="142151"/>
                    </a:lnTo>
                    <a:lnTo>
                      <a:pt x="-131" y="142151"/>
                    </a:lnTo>
                    <a:lnTo>
                      <a:pt x="-131" y="14897"/>
                    </a:lnTo>
                    <a:cubicBezTo>
                      <a:pt x="-131" y="6477"/>
                      <a:pt x="6689" y="-343"/>
                      <a:pt x="15109" y="-343"/>
                    </a:cubicBezTo>
                    <a:lnTo>
                      <a:pt x="193989" y="-343"/>
                    </a:lnTo>
                    <a:cubicBezTo>
                      <a:pt x="202418" y="-343"/>
                      <a:pt x="209276" y="6467"/>
                      <a:pt x="209324" y="14897"/>
                    </a:cubicBezTo>
                    <a:close/>
                  </a:path>
                </a:pathLst>
              </a:custGeom>
              <a:grpFill/>
              <a:ln w="9525" cap="flat">
                <a:noFill/>
                <a:prstDash val="solid"/>
                <a:miter/>
              </a:ln>
            </p:spPr>
            <p:txBody>
              <a:bodyPr rtlCol="0" anchor="ctr"/>
              <a:lstStyle/>
              <a:p>
                <a:endParaRPr lang="en-US"/>
              </a:p>
            </p:txBody>
          </p:sp>
          <p:sp>
            <p:nvSpPr>
              <p:cNvPr id="100" name="Freeform: Shape 99">
                <a:extLst>
                  <a:ext uri="{FF2B5EF4-FFF2-40B4-BE49-F238E27FC236}">
                    <a16:creationId xmlns:a16="http://schemas.microsoft.com/office/drawing/2014/main" id="{72FCFC42-9896-E1D8-F29F-3937603A8294}"/>
                  </a:ext>
                </a:extLst>
              </p:cNvPr>
              <p:cNvSpPr/>
              <p:nvPr/>
            </p:nvSpPr>
            <p:spPr>
              <a:xfrm>
                <a:off x="8495485" y="2434975"/>
                <a:ext cx="20097" cy="19050"/>
              </a:xfrm>
              <a:custGeom>
                <a:avLst/>
                <a:gdLst>
                  <a:gd name="connsiteX0" fmla="*/ 10442 w 20097"/>
                  <a:gd name="connsiteY0" fmla="*/ 18707 h 19050"/>
                  <a:gd name="connsiteX1" fmla="*/ 9394 w 20097"/>
                  <a:gd name="connsiteY1" fmla="*/ 18707 h 19050"/>
                  <a:gd name="connsiteX2" fmla="*/ -131 w 20097"/>
                  <a:gd name="connsiteY2" fmla="*/ 9182 h 19050"/>
                  <a:gd name="connsiteX3" fmla="*/ 9394 w 20097"/>
                  <a:gd name="connsiteY3" fmla="*/ -343 h 19050"/>
                  <a:gd name="connsiteX4" fmla="*/ 10442 w 20097"/>
                  <a:gd name="connsiteY4" fmla="*/ -343 h 19050"/>
                  <a:gd name="connsiteX5" fmla="*/ 19967 w 20097"/>
                  <a:gd name="connsiteY5" fmla="*/ 9182 h 19050"/>
                  <a:gd name="connsiteX6" fmla="*/ 10442 w 20097"/>
                  <a:gd name="connsiteY6" fmla="*/ 18707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97" h="19050">
                    <a:moveTo>
                      <a:pt x="10442" y="18707"/>
                    </a:moveTo>
                    <a:lnTo>
                      <a:pt x="9394" y="18707"/>
                    </a:lnTo>
                    <a:cubicBezTo>
                      <a:pt x="4136" y="18707"/>
                      <a:pt x="-131" y="14440"/>
                      <a:pt x="-131" y="9182"/>
                    </a:cubicBezTo>
                    <a:cubicBezTo>
                      <a:pt x="-131" y="3924"/>
                      <a:pt x="4136" y="-343"/>
                      <a:pt x="9394" y="-343"/>
                    </a:cubicBezTo>
                    <a:lnTo>
                      <a:pt x="10442" y="-343"/>
                    </a:lnTo>
                    <a:cubicBezTo>
                      <a:pt x="15700" y="-343"/>
                      <a:pt x="19967" y="3924"/>
                      <a:pt x="19967" y="9182"/>
                    </a:cubicBezTo>
                    <a:cubicBezTo>
                      <a:pt x="19967" y="14440"/>
                      <a:pt x="15700" y="18707"/>
                      <a:pt x="10442" y="18707"/>
                    </a:cubicBezTo>
                    <a:close/>
                  </a:path>
                </a:pathLst>
              </a:custGeom>
              <a:grpFill/>
              <a:ln w="9525" cap="flat">
                <a:noFill/>
                <a:prstDash val="solid"/>
                <a:miter/>
              </a:ln>
            </p:spPr>
            <p:txBody>
              <a:bodyPr rtlCol="0" anchor="ctr"/>
              <a:lstStyle/>
              <a:p>
                <a:endParaRPr lang="en-US"/>
              </a:p>
            </p:txBody>
          </p:sp>
          <p:sp>
            <p:nvSpPr>
              <p:cNvPr id="101" name="Freeform: Shape 100">
                <a:extLst>
                  <a:ext uri="{FF2B5EF4-FFF2-40B4-BE49-F238E27FC236}">
                    <a16:creationId xmlns:a16="http://schemas.microsoft.com/office/drawing/2014/main" id="{E1198B5C-F560-D730-3D77-4C3048411C54}"/>
                  </a:ext>
                </a:extLst>
              </p:cNvPr>
              <p:cNvSpPr/>
              <p:nvPr/>
            </p:nvSpPr>
            <p:spPr>
              <a:xfrm>
                <a:off x="8255074" y="1979109"/>
                <a:ext cx="160782" cy="160782"/>
              </a:xfrm>
              <a:custGeom>
                <a:avLst/>
                <a:gdLst>
                  <a:gd name="connsiteX0" fmla="*/ 80260 w 160782"/>
                  <a:gd name="connsiteY0" fmla="*/ 160439 h 160782"/>
                  <a:gd name="connsiteX1" fmla="*/ -131 w 160782"/>
                  <a:gd name="connsiteY1" fmla="*/ 80048 h 160782"/>
                  <a:gd name="connsiteX2" fmla="*/ 80260 w 160782"/>
                  <a:gd name="connsiteY2" fmla="*/ -343 h 160782"/>
                  <a:gd name="connsiteX3" fmla="*/ 160651 w 160782"/>
                  <a:gd name="connsiteY3" fmla="*/ 80048 h 160782"/>
                  <a:gd name="connsiteX4" fmla="*/ 80260 w 160782"/>
                  <a:gd name="connsiteY4" fmla="*/ 160439 h 160782"/>
                  <a:gd name="connsiteX5" fmla="*/ 80260 w 160782"/>
                  <a:gd name="connsiteY5" fmla="*/ 18802 h 160782"/>
                  <a:gd name="connsiteX6" fmla="*/ 18919 w 160782"/>
                  <a:gd name="connsiteY6" fmla="*/ 80143 h 160782"/>
                  <a:gd name="connsiteX7" fmla="*/ 80260 w 160782"/>
                  <a:gd name="connsiteY7" fmla="*/ 141484 h 160782"/>
                  <a:gd name="connsiteX8" fmla="*/ 141601 w 160782"/>
                  <a:gd name="connsiteY8" fmla="*/ 80143 h 160782"/>
                  <a:gd name="connsiteX9" fmla="*/ 141601 w 160782"/>
                  <a:gd name="connsiteY9" fmla="*/ 80048 h 160782"/>
                  <a:gd name="connsiteX10" fmla="*/ 80356 w 160782"/>
                  <a:gd name="connsiteY10" fmla="*/ 18802 h 160782"/>
                  <a:gd name="connsiteX11" fmla="*/ 80260 w 160782"/>
                  <a:gd name="connsiteY11" fmla="*/ 18802 h 160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0782" h="160782">
                    <a:moveTo>
                      <a:pt x="80260" y="160439"/>
                    </a:moveTo>
                    <a:cubicBezTo>
                      <a:pt x="35864" y="160439"/>
                      <a:pt x="-131" y="124444"/>
                      <a:pt x="-131" y="80048"/>
                    </a:cubicBezTo>
                    <a:cubicBezTo>
                      <a:pt x="-131" y="35652"/>
                      <a:pt x="35864" y="-343"/>
                      <a:pt x="80260" y="-343"/>
                    </a:cubicBezTo>
                    <a:cubicBezTo>
                      <a:pt x="124656" y="-343"/>
                      <a:pt x="160651" y="35652"/>
                      <a:pt x="160651" y="80048"/>
                    </a:cubicBezTo>
                    <a:cubicBezTo>
                      <a:pt x="160651" y="124444"/>
                      <a:pt x="124656" y="160439"/>
                      <a:pt x="80260" y="160439"/>
                    </a:cubicBezTo>
                    <a:close/>
                    <a:moveTo>
                      <a:pt x="80260" y="18802"/>
                    </a:moveTo>
                    <a:cubicBezTo>
                      <a:pt x="46380" y="18802"/>
                      <a:pt x="18919" y="46263"/>
                      <a:pt x="18919" y="80143"/>
                    </a:cubicBezTo>
                    <a:cubicBezTo>
                      <a:pt x="18919" y="114023"/>
                      <a:pt x="46380" y="141484"/>
                      <a:pt x="80260" y="141484"/>
                    </a:cubicBezTo>
                    <a:cubicBezTo>
                      <a:pt x="114141" y="141484"/>
                      <a:pt x="141601" y="114023"/>
                      <a:pt x="141601" y="80143"/>
                    </a:cubicBezTo>
                    <a:cubicBezTo>
                      <a:pt x="141601" y="80114"/>
                      <a:pt x="141601" y="80076"/>
                      <a:pt x="141601" y="80048"/>
                    </a:cubicBezTo>
                    <a:cubicBezTo>
                      <a:pt x="141601" y="46225"/>
                      <a:pt x="114179" y="18802"/>
                      <a:pt x="80356" y="18802"/>
                    </a:cubicBezTo>
                    <a:cubicBezTo>
                      <a:pt x="80327" y="18802"/>
                      <a:pt x="80289" y="18802"/>
                      <a:pt x="80260" y="18802"/>
                    </a:cubicBezTo>
                    <a:close/>
                  </a:path>
                </a:pathLst>
              </a:custGeom>
              <a:grpFill/>
              <a:ln w="9525" cap="flat">
                <a:noFill/>
                <a:prstDash val="solid"/>
                <a:miter/>
              </a:ln>
            </p:spPr>
            <p:txBody>
              <a:bodyPr rtlCol="0" anchor="ctr"/>
              <a:lstStyle/>
              <a:p>
                <a:endParaRPr lang="en-US"/>
              </a:p>
            </p:txBody>
          </p:sp>
          <p:sp>
            <p:nvSpPr>
              <p:cNvPr id="102" name="Freeform: Shape 101">
                <a:extLst>
                  <a:ext uri="{FF2B5EF4-FFF2-40B4-BE49-F238E27FC236}">
                    <a16:creationId xmlns:a16="http://schemas.microsoft.com/office/drawing/2014/main" id="{08E13912-550B-C6AB-BA56-D920052368D3}"/>
                  </a:ext>
                </a:extLst>
              </p:cNvPr>
              <p:cNvSpPr/>
              <p:nvPr/>
            </p:nvSpPr>
            <p:spPr>
              <a:xfrm>
                <a:off x="8188781" y="2277813"/>
                <a:ext cx="51435" cy="19050"/>
              </a:xfrm>
              <a:custGeom>
                <a:avLst/>
                <a:gdLst>
                  <a:gd name="connsiteX0" fmla="*/ 0 w 51435"/>
                  <a:gd name="connsiteY0" fmla="*/ 0 h 19050"/>
                  <a:gd name="connsiteX1" fmla="*/ 51435 w 51435"/>
                  <a:gd name="connsiteY1" fmla="*/ 0 h 19050"/>
                  <a:gd name="connsiteX2" fmla="*/ 51435 w 51435"/>
                  <a:gd name="connsiteY2" fmla="*/ 19050 h 19050"/>
                  <a:gd name="connsiteX3" fmla="*/ 0 w 51435"/>
                  <a:gd name="connsiteY3" fmla="*/ 19050 h 19050"/>
                </a:gdLst>
                <a:ahLst/>
                <a:cxnLst>
                  <a:cxn ang="0">
                    <a:pos x="connsiteX0" y="connsiteY0"/>
                  </a:cxn>
                  <a:cxn ang="0">
                    <a:pos x="connsiteX1" y="connsiteY1"/>
                  </a:cxn>
                  <a:cxn ang="0">
                    <a:pos x="connsiteX2" y="connsiteY2"/>
                  </a:cxn>
                  <a:cxn ang="0">
                    <a:pos x="connsiteX3" y="connsiteY3"/>
                  </a:cxn>
                </a:cxnLst>
                <a:rect l="l" t="t" r="r" b="b"/>
                <a:pathLst>
                  <a:path w="51435" h="19050">
                    <a:moveTo>
                      <a:pt x="0" y="0"/>
                    </a:moveTo>
                    <a:lnTo>
                      <a:pt x="51435" y="0"/>
                    </a:lnTo>
                    <a:lnTo>
                      <a:pt x="51435" y="19050"/>
                    </a:lnTo>
                    <a:lnTo>
                      <a:pt x="0" y="19050"/>
                    </a:lnTo>
                    <a:close/>
                  </a:path>
                </a:pathLst>
              </a:custGeom>
              <a:grpFill/>
              <a:ln w="9525" cap="flat">
                <a:noFill/>
                <a:prstDash val="solid"/>
                <a:miter/>
              </a:ln>
            </p:spPr>
            <p:txBody>
              <a:bodyPr rtlCol="0" anchor="ctr"/>
              <a:lstStyle/>
              <a:p>
                <a:endParaRPr lang="en-US"/>
              </a:p>
            </p:txBody>
          </p:sp>
          <p:sp>
            <p:nvSpPr>
              <p:cNvPr id="103" name="Freeform: Shape 102">
                <a:extLst>
                  <a:ext uri="{FF2B5EF4-FFF2-40B4-BE49-F238E27FC236}">
                    <a16:creationId xmlns:a16="http://schemas.microsoft.com/office/drawing/2014/main" id="{717AEFCD-6679-1A6E-5110-2B0CF045BEDC}"/>
                  </a:ext>
                </a:extLst>
              </p:cNvPr>
              <p:cNvSpPr/>
              <p:nvPr/>
            </p:nvSpPr>
            <p:spPr>
              <a:xfrm>
                <a:off x="8203280" y="2311997"/>
                <a:ext cx="181524" cy="59739"/>
              </a:xfrm>
              <a:custGeom>
                <a:avLst/>
                <a:gdLst>
                  <a:gd name="connsiteX0" fmla="*/ 40329 w 181524"/>
                  <a:gd name="connsiteY0" fmla="*/ 59389 h 59739"/>
                  <a:gd name="connsiteX1" fmla="*/ 28327 w 181524"/>
                  <a:gd name="connsiteY1" fmla="*/ 52912 h 59739"/>
                  <a:gd name="connsiteX2" fmla="*/ 1467 w 181524"/>
                  <a:gd name="connsiteY2" fmla="*/ 19670 h 59739"/>
                  <a:gd name="connsiteX3" fmla="*/ 7106 w 181524"/>
                  <a:gd name="connsiteY3" fmla="*/ 1249 h 59739"/>
                  <a:gd name="connsiteX4" fmla="*/ 14040 w 181524"/>
                  <a:gd name="connsiteY4" fmla="*/ -332 h 59739"/>
                  <a:gd name="connsiteX5" fmla="*/ 36900 w 181524"/>
                  <a:gd name="connsiteY5" fmla="*/ -332 h 59739"/>
                  <a:gd name="connsiteX6" fmla="*/ 36900 w 181524"/>
                  <a:gd name="connsiteY6" fmla="*/ 18718 h 59739"/>
                  <a:gd name="connsiteX7" fmla="*/ 24898 w 181524"/>
                  <a:gd name="connsiteY7" fmla="*/ 18718 h 59739"/>
                  <a:gd name="connsiteX8" fmla="*/ 42615 w 181524"/>
                  <a:gd name="connsiteY8" fmla="*/ 40244 h 59739"/>
                  <a:gd name="connsiteX9" fmla="*/ 181394 w 181524"/>
                  <a:gd name="connsiteY9" fmla="*/ 40244 h 59739"/>
                  <a:gd name="connsiteX10" fmla="*/ 181394 w 181524"/>
                  <a:gd name="connsiteY10" fmla="*/ 59294 h 59739"/>
                  <a:gd name="connsiteX11" fmla="*/ 40329 w 181524"/>
                  <a:gd name="connsiteY11" fmla="*/ 59294 h 59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1524" h="59739">
                    <a:moveTo>
                      <a:pt x="40329" y="59389"/>
                    </a:moveTo>
                    <a:cubicBezTo>
                      <a:pt x="35452" y="59551"/>
                      <a:pt x="30871" y="57075"/>
                      <a:pt x="28327" y="52912"/>
                    </a:cubicBezTo>
                    <a:lnTo>
                      <a:pt x="1467" y="19670"/>
                    </a:lnTo>
                    <a:cubicBezTo>
                      <a:pt x="-2067" y="13031"/>
                      <a:pt x="457" y="4782"/>
                      <a:pt x="7106" y="1249"/>
                    </a:cubicBezTo>
                    <a:cubicBezTo>
                      <a:pt x="9230" y="115"/>
                      <a:pt x="11630" y="-428"/>
                      <a:pt x="14040" y="-332"/>
                    </a:cubicBezTo>
                    <a:lnTo>
                      <a:pt x="36900" y="-332"/>
                    </a:lnTo>
                    <a:lnTo>
                      <a:pt x="36900" y="18718"/>
                    </a:lnTo>
                    <a:lnTo>
                      <a:pt x="24898" y="18718"/>
                    </a:lnTo>
                    <a:lnTo>
                      <a:pt x="42615" y="40244"/>
                    </a:lnTo>
                    <a:lnTo>
                      <a:pt x="181394" y="40244"/>
                    </a:lnTo>
                    <a:lnTo>
                      <a:pt x="181394" y="59294"/>
                    </a:lnTo>
                    <a:lnTo>
                      <a:pt x="40329" y="59294"/>
                    </a:lnTo>
                    <a:close/>
                  </a:path>
                </a:pathLst>
              </a:custGeom>
              <a:grpFill/>
              <a:ln w="9525" cap="flat">
                <a:noFill/>
                <a:prstDash val="solid"/>
                <a:miter/>
              </a:ln>
            </p:spPr>
            <p:txBody>
              <a:bodyPr rtlCol="0" anchor="ctr"/>
              <a:lstStyle/>
              <a:p>
                <a:endParaRPr lang="en-US"/>
              </a:p>
            </p:txBody>
          </p:sp>
          <p:sp>
            <p:nvSpPr>
              <p:cNvPr id="104" name="Freeform: Shape 103">
                <a:extLst>
                  <a:ext uri="{FF2B5EF4-FFF2-40B4-BE49-F238E27FC236}">
                    <a16:creationId xmlns:a16="http://schemas.microsoft.com/office/drawing/2014/main" id="{705AD8C8-431E-5D5B-2911-3A658BADBD18}"/>
                  </a:ext>
                </a:extLst>
              </p:cNvPr>
              <p:cNvSpPr/>
              <p:nvPr/>
            </p:nvSpPr>
            <p:spPr>
              <a:xfrm>
                <a:off x="8201258" y="2145821"/>
                <a:ext cx="243268" cy="141516"/>
              </a:xfrm>
              <a:custGeom>
                <a:avLst/>
                <a:gdLst>
                  <a:gd name="connsiteX0" fmla="*/ 18919 w 243268"/>
                  <a:gd name="connsiteY0" fmla="*/ 141173 h 141516"/>
                  <a:gd name="connsiteX1" fmla="*/ -131 w 243268"/>
                  <a:gd name="connsiteY1" fmla="*/ 141173 h 141516"/>
                  <a:gd name="connsiteX2" fmla="*/ -131 w 243268"/>
                  <a:gd name="connsiteY2" fmla="*/ 97073 h 141516"/>
                  <a:gd name="connsiteX3" fmla="*/ 87785 w 243268"/>
                  <a:gd name="connsiteY3" fmla="*/ -178 h 141516"/>
                  <a:gd name="connsiteX4" fmla="*/ 95596 w 243268"/>
                  <a:gd name="connsiteY4" fmla="*/ 1823 h 141516"/>
                  <a:gd name="connsiteX5" fmla="*/ 133696 w 243268"/>
                  <a:gd name="connsiteY5" fmla="*/ 32969 h 141516"/>
                  <a:gd name="connsiteX6" fmla="*/ 171319 w 243268"/>
                  <a:gd name="connsiteY6" fmla="*/ 2585 h 141516"/>
                  <a:gd name="connsiteX7" fmla="*/ 179416 w 243268"/>
                  <a:gd name="connsiteY7" fmla="*/ 775 h 141516"/>
                  <a:gd name="connsiteX8" fmla="*/ 243138 w 243268"/>
                  <a:gd name="connsiteY8" fmla="*/ 34303 h 141516"/>
                  <a:gd name="connsiteX9" fmla="*/ 229517 w 243268"/>
                  <a:gd name="connsiteY9" fmla="*/ 47638 h 141516"/>
                  <a:gd name="connsiteX10" fmla="*/ 179606 w 243268"/>
                  <a:gd name="connsiteY10" fmla="*/ 20396 h 141516"/>
                  <a:gd name="connsiteX11" fmla="*/ 140268 w 243268"/>
                  <a:gd name="connsiteY11" fmla="*/ 52305 h 141516"/>
                  <a:gd name="connsiteX12" fmla="*/ 128266 w 243268"/>
                  <a:gd name="connsiteY12" fmla="*/ 52305 h 141516"/>
                  <a:gd name="connsiteX13" fmla="*/ 87404 w 243268"/>
                  <a:gd name="connsiteY13" fmla="*/ 19158 h 141516"/>
                  <a:gd name="connsiteX14" fmla="*/ 19300 w 243268"/>
                  <a:gd name="connsiteY14" fmla="*/ 96787 h 141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3268" h="141516">
                    <a:moveTo>
                      <a:pt x="18919" y="141173"/>
                    </a:moveTo>
                    <a:lnTo>
                      <a:pt x="-131" y="141173"/>
                    </a:lnTo>
                    <a:lnTo>
                      <a:pt x="-131" y="97073"/>
                    </a:lnTo>
                    <a:cubicBezTo>
                      <a:pt x="-131" y="44114"/>
                      <a:pt x="30254" y="10490"/>
                      <a:pt x="87785" y="-178"/>
                    </a:cubicBezTo>
                    <a:cubicBezTo>
                      <a:pt x="90557" y="-701"/>
                      <a:pt x="93414" y="32"/>
                      <a:pt x="95596" y="1823"/>
                    </a:cubicBezTo>
                    <a:lnTo>
                      <a:pt x="133696" y="32969"/>
                    </a:lnTo>
                    <a:lnTo>
                      <a:pt x="171319" y="2585"/>
                    </a:lnTo>
                    <a:cubicBezTo>
                      <a:pt x="173596" y="775"/>
                      <a:pt x="176587" y="108"/>
                      <a:pt x="179416" y="775"/>
                    </a:cubicBezTo>
                    <a:cubicBezTo>
                      <a:pt x="203409" y="5661"/>
                      <a:pt x="225517" y="17291"/>
                      <a:pt x="243138" y="34303"/>
                    </a:cubicBezTo>
                    <a:lnTo>
                      <a:pt x="229517" y="47638"/>
                    </a:lnTo>
                    <a:cubicBezTo>
                      <a:pt x="215611" y="34265"/>
                      <a:pt x="198380" y="24854"/>
                      <a:pt x="179606" y="20396"/>
                    </a:cubicBezTo>
                    <a:lnTo>
                      <a:pt x="140268" y="52305"/>
                    </a:lnTo>
                    <a:cubicBezTo>
                      <a:pt x="136772" y="55144"/>
                      <a:pt x="131762" y="55144"/>
                      <a:pt x="128266" y="52305"/>
                    </a:cubicBezTo>
                    <a:lnTo>
                      <a:pt x="87404" y="19158"/>
                    </a:lnTo>
                    <a:cubicBezTo>
                      <a:pt x="41589" y="28683"/>
                      <a:pt x="19300" y="54305"/>
                      <a:pt x="19300" y="96787"/>
                    </a:cubicBezTo>
                    <a:close/>
                  </a:path>
                </a:pathLst>
              </a:custGeom>
              <a:grpFill/>
              <a:ln w="9525" cap="flat">
                <a:noFill/>
                <a:prstDash val="solid"/>
                <a:miter/>
              </a:ln>
            </p:spPr>
            <p:txBody>
              <a:bodyPr rtlCol="0" anchor="ctr"/>
              <a:lstStyle/>
              <a:p>
                <a:endParaRPr lang="en-US"/>
              </a:p>
            </p:txBody>
          </p:sp>
          <p:sp>
            <p:nvSpPr>
              <p:cNvPr id="105" name="Freeform: Shape 104">
                <a:extLst>
                  <a:ext uri="{FF2B5EF4-FFF2-40B4-BE49-F238E27FC236}">
                    <a16:creationId xmlns:a16="http://schemas.microsoft.com/office/drawing/2014/main" id="{574BAF10-A378-5617-4A58-F98E7EB10797}"/>
                  </a:ext>
                </a:extLst>
              </p:cNvPr>
              <p:cNvSpPr/>
              <p:nvPr/>
            </p:nvSpPr>
            <p:spPr>
              <a:xfrm>
                <a:off x="8230786" y="2218567"/>
                <a:ext cx="205739" cy="142303"/>
              </a:xfrm>
              <a:custGeom>
                <a:avLst/>
                <a:gdLst>
                  <a:gd name="connsiteX0" fmla="*/ 18919 w 205739"/>
                  <a:gd name="connsiteY0" fmla="*/ 141960 h 142303"/>
                  <a:gd name="connsiteX1" fmla="*/ -131 w 205739"/>
                  <a:gd name="connsiteY1" fmla="*/ 141960 h 142303"/>
                  <a:gd name="connsiteX2" fmla="*/ -131 w 205739"/>
                  <a:gd name="connsiteY2" fmla="*/ 14897 h 142303"/>
                  <a:gd name="connsiteX3" fmla="*/ 15109 w 205739"/>
                  <a:gd name="connsiteY3" fmla="*/ -343 h 142303"/>
                  <a:gd name="connsiteX4" fmla="*/ 205609 w 205739"/>
                  <a:gd name="connsiteY4" fmla="*/ -343 h 142303"/>
                  <a:gd name="connsiteX5" fmla="*/ 205609 w 205739"/>
                  <a:gd name="connsiteY5" fmla="*/ 18707 h 142303"/>
                  <a:gd name="connsiteX6" fmla="*/ 18919 w 205739"/>
                  <a:gd name="connsiteY6" fmla="*/ 18707 h 142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5739" h="142303">
                    <a:moveTo>
                      <a:pt x="18919" y="141960"/>
                    </a:moveTo>
                    <a:lnTo>
                      <a:pt x="-131" y="141960"/>
                    </a:lnTo>
                    <a:lnTo>
                      <a:pt x="-131" y="14897"/>
                    </a:lnTo>
                    <a:cubicBezTo>
                      <a:pt x="-131" y="6477"/>
                      <a:pt x="6689" y="-343"/>
                      <a:pt x="15109" y="-343"/>
                    </a:cubicBezTo>
                    <a:lnTo>
                      <a:pt x="205609" y="-343"/>
                    </a:lnTo>
                    <a:lnTo>
                      <a:pt x="205609" y="18707"/>
                    </a:lnTo>
                    <a:lnTo>
                      <a:pt x="18919" y="18707"/>
                    </a:lnTo>
                    <a:close/>
                  </a:path>
                </a:pathLst>
              </a:custGeom>
              <a:grpFill/>
              <a:ln w="9525" cap="flat">
                <a:noFill/>
                <a:prstDash val="solid"/>
                <a:miter/>
              </a:ln>
            </p:spPr>
            <p:txBody>
              <a:bodyPr rtlCol="0" anchor="ctr"/>
              <a:lstStyle/>
              <a:p>
                <a:endParaRPr lang="en-US"/>
              </a:p>
            </p:txBody>
          </p:sp>
          <p:sp>
            <p:nvSpPr>
              <p:cNvPr id="106" name="Freeform: Shape 105">
                <a:extLst>
                  <a:ext uri="{FF2B5EF4-FFF2-40B4-BE49-F238E27FC236}">
                    <a16:creationId xmlns:a16="http://schemas.microsoft.com/office/drawing/2014/main" id="{6E54509B-D889-7775-C8F4-9CB2EAB86CE9}"/>
                  </a:ext>
                </a:extLst>
              </p:cNvPr>
              <p:cNvSpPr/>
              <p:nvPr/>
            </p:nvSpPr>
            <p:spPr>
              <a:xfrm>
                <a:off x="8325940" y="2285337"/>
                <a:ext cx="20097" cy="19050"/>
              </a:xfrm>
              <a:custGeom>
                <a:avLst/>
                <a:gdLst>
                  <a:gd name="connsiteX0" fmla="*/ 10442 w 20097"/>
                  <a:gd name="connsiteY0" fmla="*/ 18707 h 19050"/>
                  <a:gd name="connsiteX1" fmla="*/ 9394 w 20097"/>
                  <a:gd name="connsiteY1" fmla="*/ 18707 h 19050"/>
                  <a:gd name="connsiteX2" fmla="*/ -131 w 20097"/>
                  <a:gd name="connsiteY2" fmla="*/ 9182 h 19050"/>
                  <a:gd name="connsiteX3" fmla="*/ 9394 w 20097"/>
                  <a:gd name="connsiteY3" fmla="*/ -343 h 19050"/>
                  <a:gd name="connsiteX4" fmla="*/ 10442 w 20097"/>
                  <a:gd name="connsiteY4" fmla="*/ -343 h 19050"/>
                  <a:gd name="connsiteX5" fmla="*/ 19967 w 20097"/>
                  <a:gd name="connsiteY5" fmla="*/ 9182 h 19050"/>
                  <a:gd name="connsiteX6" fmla="*/ 10442 w 20097"/>
                  <a:gd name="connsiteY6" fmla="*/ 18707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97" h="19050">
                    <a:moveTo>
                      <a:pt x="10442" y="18707"/>
                    </a:moveTo>
                    <a:lnTo>
                      <a:pt x="9394" y="18707"/>
                    </a:lnTo>
                    <a:cubicBezTo>
                      <a:pt x="4136" y="18707"/>
                      <a:pt x="-131" y="14440"/>
                      <a:pt x="-131" y="9182"/>
                    </a:cubicBezTo>
                    <a:cubicBezTo>
                      <a:pt x="-131" y="3924"/>
                      <a:pt x="4136" y="-343"/>
                      <a:pt x="9394" y="-343"/>
                    </a:cubicBezTo>
                    <a:lnTo>
                      <a:pt x="10442" y="-343"/>
                    </a:lnTo>
                    <a:cubicBezTo>
                      <a:pt x="15700" y="-343"/>
                      <a:pt x="19967" y="3924"/>
                      <a:pt x="19967" y="9182"/>
                    </a:cubicBezTo>
                    <a:cubicBezTo>
                      <a:pt x="19967" y="14440"/>
                      <a:pt x="15700" y="18707"/>
                      <a:pt x="10442" y="18707"/>
                    </a:cubicBezTo>
                    <a:close/>
                  </a:path>
                </a:pathLst>
              </a:custGeom>
              <a:grpFill/>
              <a:ln w="9525" cap="flat">
                <a:noFill/>
                <a:prstDash val="solid"/>
                <a:miter/>
              </a:ln>
            </p:spPr>
            <p:txBody>
              <a:bodyPr rtlCol="0" anchor="ctr"/>
              <a:lstStyle/>
              <a:p>
                <a:endParaRPr lang="en-US"/>
              </a:p>
            </p:txBody>
          </p:sp>
          <p:sp>
            <p:nvSpPr>
              <p:cNvPr id="107" name="Freeform: Shape 106">
                <a:extLst>
                  <a:ext uri="{FF2B5EF4-FFF2-40B4-BE49-F238E27FC236}">
                    <a16:creationId xmlns:a16="http://schemas.microsoft.com/office/drawing/2014/main" id="{BA83EF66-98B0-BB69-11A3-0B32D67AE39D}"/>
                  </a:ext>
                </a:extLst>
              </p:cNvPr>
              <p:cNvSpPr/>
              <p:nvPr/>
            </p:nvSpPr>
            <p:spPr>
              <a:xfrm>
                <a:off x="8594069" y="1979109"/>
                <a:ext cx="160781" cy="160782"/>
              </a:xfrm>
              <a:custGeom>
                <a:avLst/>
                <a:gdLst>
                  <a:gd name="connsiteX0" fmla="*/ 80260 w 160781"/>
                  <a:gd name="connsiteY0" fmla="*/ 160439 h 160782"/>
                  <a:gd name="connsiteX1" fmla="*/ -131 w 160781"/>
                  <a:gd name="connsiteY1" fmla="*/ 80048 h 160782"/>
                  <a:gd name="connsiteX2" fmla="*/ 80260 w 160781"/>
                  <a:gd name="connsiteY2" fmla="*/ -343 h 160782"/>
                  <a:gd name="connsiteX3" fmla="*/ 160651 w 160781"/>
                  <a:gd name="connsiteY3" fmla="*/ 80048 h 160782"/>
                  <a:gd name="connsiteX4" fmla="*/ 80260 w 160781"/>
                  <a:gd name="connsiteY4" fmla="*/ 160439 h 160782"/>
                  <a:gd name="connsiteX5" fmla="*/ 80260 w 160781"/>
                  <a:gd name="connsiteY5" fmla="*/ 18802 h 160782"/>
                  <a:gd name="connsiteX6" fmla="*/ 18919 w 160781"/>
                  <a:gd name="connsiteY6" fmla="*/ 80143 h 160782"/>
                  <a:gd name="connsiteX7" fmla="*/ 80260 w 160781"/>
                  <a:gd name="connsiteY7" fmla="*/ 141484 h 160782"/>
                  <a:gd name="connsiteX8" fmla="*/ 141601 w 160781"/>
                  <a:gd name="connsiteY8" fmla="*/ 80143 h 160782"/>
                  <a:gd name="connsiteX9" fmla="*/ 141601 w 160781"/>
                  <a:gd name="connsiteY9" fmla="*/ 80048 h 160782"/>
                  <a:gd name="connsiteX10" fmla="*/ 80260 w 160781"/>
                  <a:gd name="connsiteY10" fmla="*/ 18802 h 160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0781" h="160782">
                    <a:moveTo>
                      <a:pt x="80260" y="160439"/>
                    </a:moveTo>
                    <a:cubicBezTo>
                      <a:pt x="35864" y="160439"/>
                      <a:pt x="-131" y="124444"/>
                      <a:pt x="-131" y="80048"/>
                    </a:cubicBezTo>
                    <a:cubicBezTo>
                      <a:pt x="-131" y="35652"/>
                      <a:pt x="35864" y="-343"/>
                      <a:pt x="80260" y="-343"/>
                    </a:cubicBezTo>
                    <a:cubicBezTo>
                      <a:pt x="124656" y="-343"/>
                      <a:pt x="160651" y="35652"/>
                      <a:pt x="160651" y="80048"/>
                    </a:cubicBezTo>
                    <a:cubicBezTo>
                      <a:pt x="160594" y="124425"/>
                      <a:pt x="124637" y="160382"/>
                      <a:pt x="80260" y="160439"/>
                    </a:cubicBezTo>
                    <a:close/>
                    <a:moveTo>
                      <a:pt x="80260" y="18802"/>
                    </a:moveTo>
                    <a:cubicBezTo>
                      <a:pt x="46380" y="18802"/>
                      <a:pt x="18919" y="46263"/>
                      <a:pt x="18919" y="80143"/>
                    </a:cubicBezTo>
                    <a:cubicBezTo>
                      <a:pt x="18919" y="114023"/>
                      <a:pt x="46380" y="141484"/>
                      <a:pt x="80260" y="141484"/>
                    </a:cubicBezTo>
                    <a:cubicBezTo>
                      <a:pt x="114141" y="141484"/>
                      <a:pt x="141601" y="114023"/>
                      <a:pt x="141601" y="80143"/>
                    </a:cubicBezTo>
                    <a:cubicBezTo>
                      <a:pt x="141601" y="80114"/>
                      <a:pt x="141601" y="80076"/>
                      <a:pt x="141601" y="80048"/>
                    </a:cubicBezTo>
                    <a:cubicBezTo>
                      <a:pt x="141544" y="46205"/>
                      <a:pt x="114103" y="18802"/>
                      <a:pt x="80260" y="18802"/>
                    </a:cubicBezTo>
                    <a:close/>
                  </a:path>
                </a:pathLst>
              </a:custGeom>
              <a:grpFill/>
              <a:ln w="9525" cap="flat">
                <a:noFill/>
                <a:prstDash val="solid"/>
                <a:miter/>
              </a:ln>
            </p:spPr>
            <p:txBody>
              <a:bodyPr rtlCol="0" anchor="ctr"/>
              <a:lstStyle/>
              <a:p>
                <a:endParaRPr lang="en-US"/>
              </a:p>
            </p:txBody>
          </p:sp>
          <p:sp>
            <p:nvSpPr>
              <p:cNvPr id="108" name="Freeform: Shape 107">
                <a:extLst>
                  <a:ext uri="{FF2B5EF4-FFF2-40B4-BE49-F238E27FC236}">
                    <a16:creationId xmlns:a16="http://schemas.microsoft.com/office/drawing/2014/main" id="{605C99A6-AB9B-52E2-C6A0-DD1099046D88}"/>
                  </a:ext>
                </a:extLst>
              </p:cNvPr>
              <p:cNvSpPr/>
              <p:nvPr/>
            </p:nvSpPr>
            <p:spPr>
              <a:xfrm>
                <a:off x="8769615" y="2277813"/>
                <a:ext cx="51434" cy="19050"/>
              </a:xfrm>
              <a:custGeom>
                <a:avLst/>
                <a:gdLst>
                  <a:gd name="connsiteX0" fmla="*/ 0 w 51434"/>
                  <a:gd name="connsiteY0" fmla="*/ 0 h 19050"/>
                  <a:gd name="connsiteX1" fmla="*/ 51435 w 51434"/>
                  <a:gd name="connsiteY1" fmla="*/ 0 h 19050"/>
                  <a:gd name="connsiteX2" fmla="*/ 51435 w 51434"/>
                  <a:gd name="connsiteY2" fmla="*/ 19050 h 19050"/>
                  <a:gd name="connsiteX3" fmla="*/ 0 w 51434"/>
                  <a:gd name="connsiteY3" fmla="*/ 19050 h 19050"/>
                </a:gdLst>
                <a:ahLst/>
                <a:cxnLst>
                  <a:cxn ang="0">
                    <a:pos x="connsiteX0" y="connsiteY0"/>
                  </a:cxn>
                  <a:cxn ang="0">
                    <a:pos x="connsiteX1" y="connsiteY1"/>
                  </a:cxn>
                  <a:cxn ang="0">
                    <a:pos x="connsiteX2" y="connsiteY2"/>
                  </a:cxn>
                  <a:cxn ang="0">
                    <a:pos x="connsiteX3" y="connsiteY3"/>
                  </a:cxn>
                </a:cxnLst>
                <a:rect l="l" t="t" r="r" b="b"/>
                <a:pathLst>
                  <a:path w="51434" h="19050">
                    <a:moveTo>
                      <a:pt x="0" y="0"/>
                    </a:moveTo>
                    <a:lnTo>
                      <a:pt x="51435" y="0"/>
                    </a:lnTo>
                    <a:lnTo>
                      <a:pt x="51435" y="19050"/>
                    </a:lnTo>
                    <a:lnTo>
                      <a:pt x="0" y="19050"/>
                    </a:lnTo>
                    <a:close/>
                  </a:path>
                </a:pathLst>
              </a:custGeom>
              <a:grpFill/>
              <a:ln w="9525" cap="flat">
                <a:noFill/>
                <a:prstDash val="solid"/>
                <a:miter/>
              </a:ln>
            </p:spPr>
            <p:txBody>
              <a:bodyPr rtlCol="0" anchor="ctr"/>
              <a:lstStyle/>
              <a:p>
                <a:endParaRPr lang="en-US"/>
              </a:p>
            </p:txBody>
          </p:sp>
          <p:sp>
            <p:nvSpPr>
              <p:cNvPr id="109" name="Freeform: Shape 108">
                <a:extLst>
                  <a:ext uri="{FF2B5EF4-FFF2-40B4-BE49-F238E27FC236}">
                    <a16:creationId xmlns:a16="http://schemas.microsoft.com/office/drawing/2014/main" id="{52769209-CFAD-2A1F-928E-14FF16760CD8}"/>
                  </a:ext>
                </a:extLst>
              </p:cNvPr>
              <p:cNvSpPr/>
              <p:nvPr/>
            </p:nvSpPr>
            <p:spPr>
              <a:xfrm>
                <a:off x="8625216" y="2312099"/>
                <a:ext cx="181367" cy="59640"/>
              </a:xfrm>
              <a:custGeom>
                <a:avLst/>
                <a:gdLst>
                  <a:gd name="connsiteX0" fmla="*/ 140839 w 181367"/>
                  <a:gd name="connsiteY0" fmla="*/ 59287 h 59640"/>
                  <a:gd name="connsiteX1" fmla="*/ -131 w 181367"/>
                  <a:gd name="connsiteY1" fmla="*/ 59287 h 59640"/>
                  <a:gd name="connsiteX2" fmla="*/ -131 w 181367"/>
                  <a:gd name="connsiteY2" fmla="*/ 40237 h 59640"/>
                  <a:gd name="connsiteX3" fmla="*/ 138649 w 181367"/>
                  <a:gd name="connsiteY3" fmla="*/ 40237 h 59640"/>
                  <a:gd name="connsiteX4" fmla="*/ 156270 w 181367"/>
                  <a:gd name="connsiteY4" fmla="*/ 18711 h 59640"/>
                  <a:gd name="connsiteX5" fmla="*/ 144364 w 181367"/>
                  <a:gd name="connsiteY5" fmla="*/ 18711 h 59640"/>
                  <a:gd name="connsiteX6" fmla="*/ 144364 w 181367"/>
                  <a:gd name="connsiteY6" fmla="*/ -339 h 59640"/>
                  <a:gd name="connsiteX7" fmla="*/ 167224 w 181367"/>
                  <a:gd name="connsiteY7" fmla="*/ -339 h 59640"/>
                  <a:gd name="connsiteX8" fmla="*/ 179130 w 181367"/>
                  <a:gd name="connsiteY8" fmla="*/ 5852 h 59640"/>
                  <a:gd name="connsiteX9" fmla="*/ 179797 w 181367"/>
                  <a:gd name="connsiteY9" fmla="*/ 19663 h 59640"/>
                  <a:gd name="connsiteX10" fmla="*/ 178463 w 181367"/>
                  <a:gd name="connsiteY10" fmla="*/ 21664 h 59640"/>
                  <a:gd name="connsiteX11" fmla="*/ 152936 w 181367"/>
                  <a:gd name="connsiteY11" fmla="*/ 52906 h 59640"/>
                  <a:gd name="connsiteX12" fmla="*/ 140839 w 181367"/>
                  <a:gd name="connsiteY12" fmla="*/ 59287 h 59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1367" h="59640">
                    <a:moveTo>
                      <a:pt x="140839" y="59287"/>
                    </a:moveTo>
                    <a:lnTo>
                      <a:pt x="-131" y="59287"/>
                    </a:lnTo>
                    <a:lnTo>
                      <a:pt x="-131" y="40237"/>
                    </a:lnTo>
                    <a:lnTo>
                      <a:pt x="138649" y="40237"/>
                    </a:lnTo>
                    <a:lnTo>
                      <a:pt x="156270" y="18711"/>
                    </a:lnTo>
                    <a:lnTo>
                      <a:pt x="144364" y="18711"/>
                    </a:lnTo>
                    <a:lnTo>
                      <a:pt x="144364" y="-339"/>
                    </a:lnTo>
                    <a:lnTo>
                      <a:pt x="167224" y="-339"/>
                    </a:lnTo>
                    <a:cubicBezTo>
                      <a:pt x="171996" y="-453"/>
                      <a:pt x="176482" y="1880"/>
                      <a:pt x="179130" y="5852"/>
                    </a:cubicBezTo>
                    <a:cubicBezTo>
                      <a:pt x="181683" y="10043"/>
                      <a:pt x="181930" y="15244"/>
                      <a:pt x="179797" y="19663"/>
                    </a:cubicBezTo>
                    <a:lnTo>
                      <a:pt x="178463" y="21664"/>
                    </a:lnTo>
                    <a:lnTo>
                      <a:pt x="152936" y="52906"/>
                    </a:lnTo>
                    <a:cubicBezTo>
                      <a:pt x="150326" y="57040"/>
                      <a:pt x="145716" y="59468"/>
                      <a:pt x="140839" y="59287"/>
                    </a:cubicBezTo>
                    <a:close/>
                  </a:path>
                </a:pathLst>
              </a:custGeom>
              <a:grpFill/>
              <a:ln w="9525" cap="flat">
                <a:noFill/>
                <a:prstDash val="solid"/>
                <a:miter/>
              </a:ln>
            </p:spPr>
            <p:txBody>
              <a:bodyPr rtlCol="0" anchor="ctr"/>
              <a:lstStyle/>
              <a:p>
                <a:endParaRPr lang="en-US"/>
              </a:p>
            </p:txBody>
          </p:sp>
          <p:sp>
            <p:nvSpPr>
              <p:cNvPr id="110" name="Freeform: Shape 109">
                <a:extLst>
                  <a:ext uri="{FF2B5EF4-FFF2-40B4-BE49-F238E27FC236}">
                    <a16:creationId xmlns:a16="http://schemas.microsoft.com/office/drawing/2014/main" id="{A6871BE6-CCE6-5244-524C-FD6323627E10}"/>
                  </a:ext>
                </a:extLst>
              </p:cNvPr>
              <p:cNvSpPr/>
              <p:nvPr/>
            </p:nvSpPr>
            <p:spPr>
              <a:xfrm>
                <a:off x="8565590" y="2145835"/>
                <a:ext cx="242887" cy="141502"/>
              </a:xfrm>
              <a:custGeom>
                <a:avLst/>
                <a:gdLst>
                  <a:gd name="connsiteX0" fmla="*/ 242757 w 242887"/>
                  <a:gd name="connsiteY0" fmla="*/ 141159 h 141502"/>
                  <a:gd name="connsiteX1" fmla="*/ 223707 w 242887"/>
                  <a:gd name="connsiteY1" fmla="*/ 141159 h 141502"/>
                  <a:gd name="connsiteX2" fmla="*/ 223707 w 242887"/>
                  <a:gd name="connsiteY2" fmla="*/ 97059 h 141502"/>
                  <a:gd name="connsiteX3" fmla="*/ 155603 w 242887"/>
                  <a:gd name="connsiteY3" fmla="*/ 19430 h 141502"/>
                  <a:gd name="connsiteX4" fmla="*/ 114741 w 242887"/>
                  <a:gd name="connsiteY4" fmla="*/ 52577 h 141502"/>
                  <a:gd name="connsiteX5" fmla="*/ 102739 w 242887"/>
                  <a:gd name="connsiteY5" fmla="*/ 52577 h 141502"/>
                  <a:gd name="connsiteX6" fmla="*/ 63401 w 242887"/>
                  <a:gd name="connsiteY6" fmla="*/ 20668 h 141502"/>
                  <a:gd name="connsiteX7" fmla="*/ 13585 w 242887"/>
                  <a:gd name="connsiteY7" fmla="*/ 47910 h 141502"/>
                  <a:gd name="connsiteX8" fmla="*/ -131 w 242887"/>
                  <a:gd name="connsiteY8" fmla="*/ 34574 h 141502"/>
                  <a:gd name="connsiteX9" fmla="*/ 63592 w 242887"/>
                  <a:gd name="connsiteY9" fmla="*/ 1047 h 141502"/>
                  <a:gd name="connsiteX10" fmla="*/ 71783 w 242887"/>
                  <a:gd name="connsiteY10" fmla="*/ 2856 h 141502"/>
                  <a:gd name="connsiteX11" fmla="*/ 108740 w 242887"/>
                  <a:gd name="connsiteY11" fmla="*/ 32955 h 141502"/>
                  <a:gd name="connsiteX12" fmla="*/ 146840 w 242887"/>
                  <a:gd name="connsiteY12" fmla="*/ 1809 h 141502"/>
                  <a:gd name="connsiteX13" fmla="*/ 154555 w 242887"/>
                  <a:gd name="connsiteY13" fmla="*/ -192 h 141502"/>
                  <a:gd name="connsiteX14" fmla="*/ 242471 w 242887"/>
                  <a:gd name="connsiteY14" fmla="*/ 97059 h 141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2887" h="141502">
                    <a:moveTo>
                      <a:pt x="242757" y="141159"/>
                    </a:moveTo>
                    <a:lnTo>
                      <a:pt x="223707" y="141159"/>
                    </a:lnTo>
                    <a:lnTo>
                      <a:pt x="223707" y="97059"/>
                    </a:lnTo>
                    <a:cubicBezTo>
                      <a:pt x="223707" y="54577"/>
                      <a:pt x="201418" y="29145"/>
                      <a:pt x="155603" y="19430"/>
                    </a:cubicBezTo>
                    <a:lnTo>
                      <a:pt x="114741" y="52577"/>
                    </a:lnTo>
                    <a:cubicBezTo>
                      <a:pt x="111245" y="55415"/>
                      <a:pt x="106235" y="55415"/>
                      <a:pt x="102739" y="52577"/>
                    </a:cubicBezTo>
                    <a:lnTo>
                      <a:pt x="63401" y="20668"/>
                    </a:lnTo>
                    <a:cubicBezTo>
                      <a:pt x="44646" y="25107"/>
                      <a:pt x="27435" y="34518"/>
                      <a:pt x="13585" y="47910"/>
                    </a:cubicBezTo>
                    <a:lnTo>
                      <a:pt x="-131" y="34574"/>
                    </a:lnTo>
                    <a:cubicBezTo>
                      <a:pt x="17491" y="17563"/>
                      <a:pt x="39598" y="5933"/>
                      <a:pt x="63592" y="1047"/>
                    </a:cubicBezTo>
                    <a:cubicBezTo>
                      <a:pt x="66459" y="351"/>
                      <a:pt x="69478" y="1018"/>
                      <a:pt x="71783" y="2856"/>
                    </a:cubicBezTo>
                    <a:lnTo>
                      <a:pt x="108740" y="32955"/>
                    </a:lnTo>
                    <a:lnTo>
                      <a:pt x="146840" y="1809"/>
                    </a:lnTo>
                    <a:cubicBezTo>
                      <a:pt x="148993" y="46"/>
                      <a:pt x="151812" y="-687"/>
                      <a:pt x="154555" y="-192"/>
                    </a:cubicBezTo>
                    <a:cubicBezTo>
                      <a:pt x="211705" y="10476"/>
                      <a:pt x="242471" y="44099"/>
                      <a:pt x="242471" y="97059"/>
                    </a:cubicBezTo>
                    <a:close/>
                  </a:path>
                </a:pathLst>
              </a:custGeom>
              <a:grpFill/>
              <a:ln w="9525" cap="flat">
                <a:noFill/>
                <a:prstDash val="solid"/>
                <a:miter/>
              </a:ln>
            </p:spPr>
            <p:txBody>
              <a:bodyPr rtlCol="0" anchor="ctr"/>
              <a:lstStyle/>
              <a:p>
                <a:endParaRPr lang="en-US"/>
              </a:p>
            </p:txBody>
          </p:sp>
          <p:sp>
            <p:nvSpPr>
              <p:cNvPr id="111" name="Freeform: Shape 110">
                <a:extLst>
                  <a:ext uri="{FF2B5EF4-FFF2-40B4-BE49-F238E27FC236}">
                    <a16:creationId xmlns:a16="http://schemas.microsoft.com/office/drawing/2014/main" id="{B1E30270-B35D-3A4C-7A94-7B968CFC77F2}"/>
                  </a:ext>
                </a:extLst>
              </p:cNvPr>
              <p:cNvSpPr/>
              <p:nvPr/>
            </p:nvSpPr>
            <p:spPr>
              <a:xfrm>
                <a:off x="8573305" y="2218567"/>
                <a:ext cx="205930" cy="142303"/>
              </a:xfrm>
              <a:custGeom>
                <a:avLst/>
                <a:gdLst>
                  <a:gd name="connsiteX0" fmla="*/ 205800 w 205930"/>
                  <a:gd name="connsiteY0" fmla="*/ 141961 h 142303"/>
                  <a:gd name="connsiteX1" fmla="*/ 186750 w 205930"/>
                  <a:gd name="connsiteY1" fmla="*/ 141961 h 142303"/>
                  <a:gd name="connsiteX2" fmla="*/ 186750 w 205930"/>
                  <a:gd name="connsiteY2" fmla="*/ 18707 h 142303"/>
                  <a:gd name="connsiteX3" fmla="*/ -131 w 205930"/>
                  <a:gd name="connsiteY3" fmla="*/ 18707 h 142303"/>
                  <a:gd name="connsiteX4" fmla="*/ -131 w 205930"/>
                  <a:gd name="connsiteY4" fmla="*/ -343 h 142303"/>
                  <a:gd name="connsiteX5" fmla="*/ 190369 w 205930"/>
                  <a:gd name="connsiteY5" fmla="*/ -343 h 142303"/>
                  <a:gd name="connsiteX6" fmla="*/ 205705 w 205930"/>
                  <a:gd name="connsiteY6" fmla="*/ 14802 h 142303"/>
                  <a:gd name="connsiteX7" fmla="*/ 205705 w 205930"/>
                  <a:gd name="connsiteY7" fmla="*/ 14897 h 142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5930" h="142303">
                    <a:moveTo>
                      <a:pt x="205800" y="141961"/>
                    </a:moveTo>
                    <a:lnTo>
                      <a:pt x="186750" y="141961"/>
                    </a:lnTo>
                    <a:lnTo>
                      <a:pt x="186750" y="18707"/>
                    </a:lnTo>
                    <a:lnTo>
                      <a:pt x="-131" y="18707"/>
                    </a:lnTo>
                    <a:lnTo>
                      <a:pt x="-131" y="-343"/>
                    </a:lnTo>
                    <a:lnTo>
                      <a:pt x="190369" y="-343"/>
                    </a:lnTo>
                    <a:cubicBezTo>
                      <a:pt x="198789" y="-400"/>
                      <a:pt x="205647" y="6382"/>
                      <a:pt x="205705" y="14802"/>
                    </a:cubicBezTo>
                    <a:cubicBezTo>
                      <a:pt x="205705" y="14831"/>
                      <a:pt x="205705" y="14869"/>
                      <a:pt x="205705" y="14897"/>
                    </a:cubicBezTo>
                    <a:close/>
                  </a:path>
                </a:pathLst>
              </a:custGeom>
              <a:grpFill/>
              <a:ln w="9525" cap="flat">
                <a:noFill/>
                <a:prstDash val="solid"/>
                <a:miter/>
              </a:ln>
            </p:spPr>
            <p:txBody>
              <a:bodyPr rtlCol="0" anchor="ctr"/>
              <a:lstStyle/>
              <a:p>
                <a:endParaRPr lang="en-US"/>
              </a:p>
            </p:txBody>
          </p:sp>
          <p:sp>
            <p:nvSpPr>
              <p:cNvPr id="112" name="Freeform: Shape 111">
                <a:extLst>
                  <a:ext uri="{FF2B5EF4-FFF2-40B4-BE49-F238E27FC236}">
                    <a16:creationId xmlns:a16="http://schemas.microsoft.com/office/drawing/2014/main" id="{60115D9F-4B78-1517-EE0C-DAB620086113}"/>
                  </a:ext>
                </a:extLst>
              </p:cNvPr>
              <p:cNvSpPr/>
              <p:nvPr/>
            </p:nvSpPr>
            <p:spPr>
              <a:xfrm>
                <a:off x="8663888" y="2285337"/>
                <a:ext cx="20097" cy="19050"/>
              </a:xfrm>
              <a:custGeom>
                <a:avLst/>
                <a:gdLst>
                  <a:gd name="connsiteX0" fmla="*/ 10442 w 20097"/>
                  <a:gd name="connsiteY0" fmla="*/ 18707 h 19050"/>
                  <a:gd name="connsiteX1" fmla="*/ 9394 w 20097"/>
                  <a:gd name="connsiteY1" fmla="*/ 18707 h 19050"/>
                  <a:gd name="connsiteX2" fmla="*/ -131 w 20097"/>
                  <a:gd name="connsiteY2" fmla="*/ 9182 h 19050"/>
                  <a:gd name="connsiteX3" fmla="*/ 9394 w 20097"/>
                  <a:gd name="connsiteY3" fmla="*/ -343 h 19050"/>
                  <a:gd name="connsiteX4" fmla="*/ 10442 w 20097"/>
                  <a:gd name="connsiteY4" fmla="*/ -343 h 19050"/>
                  <a:gd name="connsiteX5" fmla="*/ 19967 w 20097"/>
                  <a:gd name="connsiteY5" fmla="*/ 9182 h 19050"/>
                  <a:gd name="connsiteX6" fmla="*/ 10442 w 20097"/>
                  <a:gd name="connsiteY6" fmla="*/ 18707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97" h="19050">
                    <a:moveTo>
                      <a:pt x="10442" y="18707"/>
                    </a:moveTo>
                    <a:lnTo>
                      <a:pt x="9394" y="18707"/>
                    </a:lnTo>
                    <a:cubicBezTo>
                      <a:pt x="4136" y="18707"/>
                      <a:pt x="-131" y="14440"/>
                      <a:pt x="-131" y="9182"/>
                    </a:cubicBezTo>
                    <a:cubicBezTo>
                      <a:pt x="-131" y="3924"/>
                      <a:pt x="4136" y="-343"/>
                      <a:pt x="9394" y="-343"/>
                    </a:cubicBezTo>
                    <a:lnTo>
                      <a:pt x="10442" y="-343"/>
                    </a:lnTo>
                    <a:cubicBezTo>
                      <a:pt x="15700" y="-343"/>
                      <a:pt x="19967" y="3924"/>
                      <a:pt x="19967" y="9182"/>
                    </a:cubicBezTo>
                    <a:cubicBezTo>
                      <a:pt x="19967" y="14440"/>
                      <a:pt x="15700" y="18707"/>
                      <a:pt x="10442" y="18707"/>
                    </a:cubicBezTo>
                    <a:close/>
                  </a:path>
                </a:pathLst>
              </a:custGeom>
              <a:grpFill/>
              <a:ln w="9525" cap="flat">
                <a:noFill/>
                <a:prstDash val="solid"/>
                <a:miter/>
              </a:ln>
            </p:spPr>
            <p:txBody>
              <a:bodyPr rtlCol="0" anchor="ctr"/>
              <a:lstStyle/>
              <a:p>
                <a:endParaRPr lang="en-US"/>
              </a:p>
            </p:txBody>
          </p:sp>
          <p:sp>
            <p:nvSpPr>
              <p:cNvPr id="113" name="Freeform: Shape 112">
                <a:extLst>
                  <a:ext uri="{FF2B5EF4-FFF2-40B4-BE49-F238E27FC236}">
                    <a16:creationId xmlns:a16="http://schemas.microsoft.com/office/drawing/2014/main" id="{570C19D1-4740-4E01-FCF5-5A1334E8C29F}"/>
                  </a:ext>
                </a:extLst>
              </p:cNvPr>
              <p:cNvSpPr/>
              <p:nvPr/>
            </p:nvSpPr>
            <p:spPr>
              <a:xfrm>
                <a:off x="8537724" y="1807665"/>
                <a:ext cx="26489" cy="37046"/>
              </a:xfrm>
              <a:custGeom>
                <a:avLst/>
                <a:gdLst>
                  <a:gd name="connsiteX0" fmla="*/ 9352 w 26489"/>
                  <a:gd name="connsiteY0" fmla="*/ 36703 h 37046"/>
                  <a:gd name="connsiteX1" fmla="*/ 5637 w 26489"/>
                  <a:gd name="connsiteY1" fmla="*/ 35941 h 37046"/>
                  <a:gd name="connsiteX2" fmla="*/ 589 w 26489"/>
                  <a:gd name="connsiteY2" fmla="*/ 23558 h 37046"/>
                  <a:gd name="connsiteX3" fmla="*/ 8114 w 26489"/>
                  <a:gd name="connsiteY3" fmla="*/ 5461 h 37046"/>
                  <a:gd name="connsiteX4" fmla="*/ 20591 w 26489"/>
                  <a:gd name="connsiteY4" fmla="*/ 412 h 37046"/>
                  <a:gd name="connsiteX5" fmla="*/ 25640 w 26489"/>
                  <a:gd name="connsiteY5" fmla="*/ 12795 h 37046"/>
                  <a:gd name="connsiteX6" fmla="*/ 18115 w 26489"/>
                  <a:gd name="connsiteY6" fmla="*/ 30893 h 37046"/>
                  <a:gd name="connsiteX7" fmla="*/ 9352 w 26489"/>
                  <a:gd name="connsiteY7" fmla="*/ 36703 h 37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89" h="37046">
                    <a:moveTo>
                      <a:pt x="9352" y="36703"/>
                    </a:moveTo>
                    <a:cubicBezTo>
                      <a:pt x="8076" y="36722"/>
                      <a:pt x="6809" y="36465"/>
                      <a:pt x="5637" y="35941"/>
                    </a:cubicBezTo>
                    <a:cubicBezTo>
                      <a:pt x="856" y="33883"/>
                      <a:pt x="-1392" y="28368"/>
                      <a:pt x="589" y="23558"/>
                    </a:cubicBezTo>
                    <a:lnTo>
                      <a:pt x="8114" y="5461"/>
                    </a:lnTo>
                    <a:cubicBezTo>
                      <a:pt x="10171" y="622"/>
                      <a:pt x="15753" y="-1635"/>
                      <a:pt x="20591" y="412"/>
                    </a:cubicBezTo>
                    <a:cubicBezTo>
                      <a:pt x="25373" y="2470"/>
                      <a:pt x="27621" y="7985"/>
                      <a:pt x="25640" y="12795"/>
                    </a:cubicBezTo>
                    <a:lnTo>
                      <a:pt x="18115" y="30893"/>
                    </a:lnTo>
                    <a:cubicBezTo>
                      <a:pt x="16629" y="34417"/>
                      <a:pt x="13171" y="36703"/>
                      <a:pt x="9352" y="36703"/>
                    </a:cubicBezTo>
                    <a:close/>
                  </a:path>
                </a:pathLst>
              </a:custGeom>
              <a:grpFill/>
              <a:ln w="9525" cap="flat">
                <a:noFill/>
                <a:prstDash val="solid"/>
                <a:miter/>
              </a:ln>
            </p:spPr>
            <p:txBody>
              <a:bodyPr rtlCol="0" anchor="ctr"/>
              <a:lstStyle/>
              <a:p>
                <a:endParaRPr lang="en-US"/>
              </a:p>
            </p:txBody>
          </p:sp>
          <p:sp>
            <p:nvSpPr>
              <p:cNvPr id="114" name="Freeform: Shape 113">
                <a:extLst>
                  <a:ext uri="{FF2B5EF4-FFF2-40B4-BE49-F238E27FC236}">
                    <a16:creationId xmlns:a16="http://schemas.microsoft.com/office/drawing/2014/main" id="{E27D539E-0DCF-AA5D-2827-2EB1C632F7D6}"/>
                  </a:ext>
                </a:extLst>
              </p:cNvPr>
              <p:cNvSpPr/>
              <p:nvPr/>
            </p:nvSpPr>
            <p:spPr>
              <a:xfrm>
                <a:off x="8446190" y="1806893"/>
                <a:ext cx="26494" cy="37056"/>
              </a:xfrm>
              <a:custGeom>
                <a:avLst/>
                <a:gdLst>
                  <a:gd name="connsiteX0" fmla="*/ 16780 w 26494"/>
                  <a:gd name="connsiteY0" fmla="*/ 36712 h 37056"/>
                  <a:gd name="connsiteX1" fmla="*/ 7921 w 26494"/>
                  <a:gd name="connsiteY1" fmla="*/ 30807 h 37056"/>
                  <a:gd name="connsiteX2" fmla="*/ 587 w 26494"/>
                  <a:gd name="connsiteY2" fmla="*/ 12805 h 37056"/>
                  <a:gd name="connsiteX3" fmla="*/ 5778 w 26494"/>
                  <a:gd name="connsiteY3" fmla="*/ 375 h 37056"/>
                  <a:gd name="connsiteX4" fmla="*/ 18208 w 26494"/>
                  <a:gd name="connsiteY4" fmla="*/ 5566 h 37056"/>
                  <a:gd name="connsiteX5" fmla="*/ 25638 w 26494"/>
                  <a:gd name="connsiteY5" fmla="*/ 23568 h 37056"/>
                  <a:gd name="connsiteX6" fmla="*/ 20485 w 26494"/>
                  <a:gd name="connsiteY6" fmla="*/ 36008 h 37056"/>
                  <a:gd name="connsiteX7" fmla="*/ 20399 w 26494"/>
                  <a:gd name="connsiteY7" fmla="*/ 36046 h 37056"/>
                  <a:gd name="connsiteX8" fmla="*/ 16780 w 26494"/>
                  <a:gd name="connsiteY8" fmla="*/ 36712 h 37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494" h="37056">
                    <a:moveTo>
                      <a:pt x="16780" y="36712"/>
                    </a:moveTo>
                    <a:cubicBezTo>
                      <a:pt x="12903" y="36732"/>
                      <a:pt x="9398" y="34398"/>
                      <a:pt x="7921" y="30807"/>
                    </a:cubicBezTo>
                    <a:lnTo>
                      <a:pt x="587" y="12805"/>
                    </a:lnTo>
                    <a:cubicBezTo>
                      <a:pt x="-1413" y="7937"/>
                      <a:pt x="911" y="2375"/>
                      <a:pt x="5778" y="375"/>
                    </a:cubicBezTo>
                    <a:cubicBezTo>
                      <a:pt x="10645" y="-1626"/>
                      <a:pt x="16208" y="698"/>
                      <a:pt x="18208" y="5566"/>
                    </a:cubicBezTo>
                    <a:lnTo>
                      <a:pt x="25638" y="23568"/>
                    </a:lnTo>
                    <a:cubicBezTo>
                      <a:pt x="27648" y="28426"/>
                      <a:pt x="25343" y="33998"/>
                      <a:pt x="20485" y="36008"/>
                    </a:cubicBezTo>
                    <a:cubicBezTo>
                      <a:pt x="20456" y="36027"/>
                      <a:pt x="20428" y="36036"/>
                      <a:pt x="20399" y="36046"/>
                    </a:cubicBezTo>
                    <a:cubicBezTo>
                      <a:pt x="19246" y="36503"/>
                      <a:pt x="18018" y="36732"/>
                      <a:pt x="16780" y="36712"/>
                    </a:cubicBezTo>
                    <a:close/>
                  </a:path>
                </a:pathLst>
              </a:custGeom>
              <a:grpFill/>
              <a:ln w="9525" cap="flat">
                <a:noFill/>
                <a:prstDash val="solid"/>
                <a:miter/>
              </a:ln>
            </p:spPr>
            <p:txBody>
              <a:bodyPr rtlCol="0" anchor="ctr"/>
              <a:lstStyle/>
              <a:p>
                <a:endParaRPr lang="en-US"/>
              </a:p>
            </p:txBody>
          </p:sp>
          <p:sp>
            <p:nvSpPr>
              <p:cNvPr id="115" name="Freeform: Shape 114">
                <a:extLst>
                  <a:ext uri="{FF2B5EF4-FFF2-40B4-BE49-F238E27FC236}">
                    <a16:creationId xmlns:a16="http://schemas.microsoft.com/office/drawing/2014/main" id="{77BC8FD1-22E7-66FC-F695-40E8A4C8C03F}"/>
                  </a:ext>
                </a:extLst>
              </p:cNvPr>
              <p:cNvSpPr/>
              <p:nvPr/>
            </p:nvSpPr>
            <p:spPr>
              <a:xfrm>
                <a:off x="8375157" y="1876727"/>
                <a:ext cx="37731" cy="26849"/>
              </a:xfrm>
              <a:custGeom>
                <a:avLst/>
                <a:gdLst>
                  <a:gd name="connsiteX0" fmla="*/ 28091 w 37731"/>
                  <a:gd name="connsiteY0" fmla="*/ 26506 h 26849"/>
                  <a:gd name="connsiteX1" fmla="*/ 24376 w 37731"/>
                  <a:gd name="connsiteY1" fmla="*/ 25744 h 26849"/>
                  <a:gd name="connsiteX2" fmla="*/ 6374 w 37731"/>
                  <a:gd name="connsiteY2" fmla="*/ 18219 h 26849"/>
                  <a:gd name="connsiteX3" fmla="*/ 363 w 37731"/>
                  <a:gd name="connsiteY3" fmla="*/ 6160 h 26849"/>
                  <a:gd name="connsiteX4" fmla="*/ 12422 w 37731"/>
                  <a:gd name="connsiteY4" fmla="*/ 150 h 26849"/>
                  <a:gd name="connsiteX5" fmla="*/ 13708 w 37731"/>
                  <a:gd name="connsiteY5" fmla="*/ 693 h 26849"/>
                  <a:gd name="connsiteX6" fmla="*/ 31805 w 37731"/>
                  <a:gd name="connsiteY6" fmla="*/ 8218 h 26849"/>
                  <a:gd name="connsiteX7" fmla="*/ 36835 w 37731"/>
                  <a:gd name="connsiteY7" fmla="*/ 20715 h 26849"/>
                  <a:gd name="connsiteX8" fmla="*/ 28091 w 37731"/>
                  <a:gd name="connsiteY8" fmla="*/ 26506 h 2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731" h="26849">
                    <a:moveTo>
                      <a:pt x="28091" y="26506"/>
                    </a:moveTo>
                    <a:cubicBezTo>
                      <a:pt x="26814" y="26525"/>
                      <a:pt x="25538" y="26267"/>
                      <a:pt x="24376" y="25744"/>
                    </a:cubicBezTo>
                    <a:lnTo>
                      <a:pt x="6374" y="18219"/>
                    </a:lnTo>
                    <a:cubicBezTo>
                      <a:pt x="1383" y="16552"/>
                      <a:pt x="-1303" y="11152"/>
                      <a:pt x="363" y="6160"/>
                    </a:cubicBezTo>
                    <a:cubicBezTo>
                      <a:pt x="2030" y="1179"/>
                      <a:pt x="7431" y="-1517"/>
                      <a:pt x="12422" y="150"/>
                    </a:cubicBezTo>
                    <a:cubicBezTo>
                      <a:pt x="12860" y="302"/>
                      <a:pt x="13289" y="484"/>
                      <a:pt x="13708" y="693"/>
                    </a:cubicBezTo>
                    <a:lnTo>
                      <a:pt x="31805" y="8218"/>
                    </a:lnTo>
                    <a:cubicBezTo>
                      <a:pt x="36644" y="10275"/>
                      <a:pt x="38902" y="15876"/>
                      <a:pt x="36835" y="20715"/>
                    </a:cubicBezTo>
                    <a:cubicBezTo>
                      <a:pt x="35339" y="24220"/>
                      <a:pt x="31901" y="26496"/>
                      <a:pt x="28091" y="26506"/>
                    </a:cubicBezTo>
                    <a:close/>
                  </a:path>
                </a:pathLst>
              </a:custGeom>
              <a:grpFill/>
              <a:ln w="9525" cap="flat">
                <a:noFill/>
                <a:prstDash val="solid"/>
                <a:miter/>
              </a:ln>
            </p:spPr>
            <p:txBody>
              <a:bodyPr rtlCol="0" anchor="ctr"/>
              <a:lstStyle/>
              <a:p>
                <a:endParaRPr lang="en-US"/>
              </a:p>
            </p:txBody>
          </p:sp>
          <p:sp>
            <p:nvSpPr>
              <p:cNvPr id="116" name="Freeform: Shape 115">
                <a:extLst>
                  <a:ext uri="{FF2B5EF4-FFF2-40B4-BE49-F238E27FC236}">
                    <a16:creationId xmlns:a16="http://schemas.microsoft.com/office/drawing/2014/main" id="{26A472D5-F1E6-ED44-69C2-FCA86BACDF22}"/>
                  </a:ext>
                </a:extLst>
              </p:cNvPr>
              <p:cNvSpPr/>
              <p:nvPr/>
            </p:nvSpPr>
            <p:spPr>
              <a:xfrm>
                <a:off x="8596867" y="1877781"/>
                <a:ext cx="37702" cy="26651"/>
              </a:xfrm>
              <a:custGeom>
                <a:avLst/>
                <a:gdLst>
                  <a:gd name="connsiteX0" fmla="*/ 9454 w 37702"/>
                  <a:gd name="connsiteY0" fmla="*/ 26309 h 26651"/>
                  <a:gd name="connsiteX1" fmla="*/ 595 w 37702"/>
                  <a:gd name="connsiteY1" fmla="*/ 20403 h 26651"/>
                  <a:gd name="connsiteX2" fmla="*/ 5748 w 37702"/>
                  <a:gd name="connsiteY2" fmla="*/ 7963 h 26651"/>
                  <a:gd name="connsiteX3" fmla="*/ 5834 w 37702"/>
                  <a:gd name="connsiteY3" fmla="*/ 7925 h 26651"/>
                  <a:gd name="connsiteX4" fmla="*/ 23932 w 37702"/>
                  <a:gd name="connsiteY4" fmla="*/ 591 h 26651"/>
                  <a:gd name="connsiteX5" fmla="*/ 36638 w 37702"/>
                  <a:gd name="connsiteY5" fmla="*/ 5068 h 26651"/>
                  <a:gd name="connsiteX6" fmla="*/ 32152 w 37702"/>
                  <a:gd name="connsiteY6" fmla="*/ 17774 h 26651"/>
                  <a:gd name="connsiteX7" fmla="*/ 31075 w 37702"/>
                  <a:gd name="connsiteY7" fmla="*/ 18212 h 26651"/>
                  <a:gd name="connsiteX8" fmla="*/ 12978 w 37702"/>
                  <a:gd name="connsiteY8" fmla="*/ 25642 h 26651"/>
                  <a:gd name="connsiteX9" fmla="*/ 9454 w 37702"/>
                  <a:gd name="connsiteY9" fmla="*/ 26309 h 2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702" h="26651">
                    <a:moveTo>
                      <a:pt x="9454" y="26309"/>
                    </a:moveTo>
                    <a:cubicBezTo>
                      <a:pt x="5577" y="26327"/>
                      <a:pt x="2072" y="23994"/>
                      <a:pt x="595" y="20403"/>
                    </a:cubicBezTo>
                    <a:cubicBezTo>
                      <a:pt x="-1414" y="15545"/>
                      <a:pt x="891" y="9973"/>
                      <a:pt x="5748" y="7963"/>
                    </a:cubicBezTo>
                    <a:cubicBezTo>
                      <a:pt x="5777" y="7944"/>
                      <a:pt x="5806" y="7935"/>
                      <a:pt x="5834" y="7925"/>
                    </a:cubicBezTo>
                    <a:lnTo>
                      <a:pt x="23932" y="591"/>
                    </a:lnTo>
                    <a:cubicBezTo>
                      <a:pt x="28675" y="-1676"/>
                      <a:pt x="34362" y="324"/>
                      <a:pt x="36638" y="5068"/>
                    </a:cubicBezTo>
                    <a:cubicBezTo>
                      <a:pt x="38905" y="9811"/>
                      <a:pt x="36905" y="15507"/>
                      <a:pt x="32152" y="17774"/>
                    </a:cubicBezTo>
                    <a:cubicBezTo>
                      <a:pt x="31809" y="17945"/>
                      <a:pt x="31447" y="18088"/>
                      <a:pt x="31075" y="18212"/>
                    </a:cubicBezTo>
                    <a:lnTo>
                      <a:pt x="12978" y="25642"/>
                    </a:lnTo>
                    <a:cubicBezTo>
                      <a:pt x="11854" y="26089"/>
                      <a:pt x="10663" y="26309"/>
                      <a:pt x="9454" y="26309"/>
                    </a:cubicBezTo>
                    <a:close/>
                  </a:path>
                </a:pathLst>
              </a:custGeom>
              <a:grpFill/>
              <a:ln w="9525" cap="flat">
                <a:noFill/>
                <a:prstDash val="solid"/>
                <a:miter/>
              </a:ln>
            </p:spPr>
            <p:txBody>
              <a:bodyPr rtlCol="0" anchor="ctr"/>
              <a:lstStyle/>
              <a:p>
                <a:endParaRPr lang="en-US"/>
              </a:p>
            </p:txBody>
          </p:sp>
          <p:sp>
            <p:nvSpPr>
              <p:cNvPr id="117" name="Freeform: Shape 116">
                <a:extLst>
                  <a:ext uri="{FF2B5EF4-FFF2-40B4-BE49-F238E27FC236}">
                    <a16:creationId xmlns:a16="http://schemas.microsoft.com/office/drawing/2014/main" id="{0F89D2DC-2236-6531-63E3-32968E37655B}"/>
                  </a:ext>
                </a:extLst>
              </p:cNvPr>
              <p:cNvSpPr/>
              <p:nvPr/>
            </p:nvSpPr>
            <p:spPr>
              <a:xfrm>
                <a:off x="8419381" y="1856102"/>
                <a:ext cx="173165" cy="198541"/>
              </a:xfrm>
              <a:custGeom>
                <a:avLst/>
                <a:gdLst>
                  <a:gd name="connsiteX0" fmla="*/ 123028 w 173165"/>
                  <a:gd name="connsiteY0" fmla="*/ 198197 h 198541"/>
                  <a:gd name="connsiteX1" fmla="*/ 49971 w 173165"/>
                  <a:gd name="connsiteY1" fmla="*/ 198197 h 198541"/>
                  <a:gd name="connsiteX2" fmla="*/ 33112 w 173165"/>
                  <a:gd name="connsiteY2" fmla="*/ 177528 h 198541"/>
                  <a:gd name="connsiteX3" fmla="*/ 31778 w 173165"/>
                  <a:gd name="connsiteY3" fmla="*/ 169431 h 198541"/>
                  <a:gd name="connsiteX4" fmla="*/ 16538 w 173165"/>
                  <a:gd name="connsiteY4" fmla="*/ 137237 h 198541"/>
                  <a:gd name="connsiteX5" fmla="*/ -131 w 173165"/>
                  <a:gd name="connsiteY5" fmla="*/ 86278 h 198541"/>
                  <a:gd name="connsiteX6" fmla="*/ 86452 w 173165"/>
                  <a:gd name="connsiteY6" fmla="*/ -304 h 198541"/>
                  <a:gd name="connsiteX7" fmla="*/ 147793 w 173165"/>
                  <a:gd name="connsiteY7" fmla="*/ 23699 h 198541"/>
                  <a:gd name="connsiteX8" fmla="*/ 173034 w 173165"/>
                  <a:gd name="connsiteY8" fmla="*/ 86754 h 198541"/>
                  <a:gd name="connsiteX9" fmla="*/ 156270 w 173165"/>
                  <a:gd name="connsiteY9" fmla="*/ 137427 h 198541"/>
                  <a:gd name="connsiteX10" fmla="*/ 141316 w 173165"/>
                  <a:gd name="connsiteY10" fmla="*/ 168764 h 198541"/>
                  <a:gd name="connsiteX11" fmla="*/ 139792 w 173165"/>
                  <a:gd name="connsiteY11" fmla="*/ 178289 h 198541"/>
                  <a:gd name="connsiteX12" fmla="*/ 135315 w 173165"/>
                  <a:gd name="connsiteY12" fmla="*/ 192767 h 198541"/>
                  <a:gd name="connsiteX13" fmla="*/ 123028 w 173165"/>
                  <a:gd name="connsiteY13" fmla="*/ 198197 h 198541"/>
                  <a:gd name="connsiteX14" fmla="*/ 52257 w 173165"/>
                  <a:gd name="connsiteY14" fmla="*/ 179147 h 198541"/>
                  <a:gd name="connsiteX15" fmla="*/ 120742 w 173165"/>
                  <a:gd name="connsiteY15" fmla="*/ 179147 h 198541"/>
                  <a:gd name="connsiteX16" fmla="*/ 120742 w 173165"/>
                  <a:gd name="connsiteY16" fmla="*/ 178575 h 198541"/>
                  <a:gd name="connsiteX17" fmla="*/ 122742 w 173165"/>
                  <a:gd name="connsiteY17" fmla="*/ 164669 h 198541"/>
                  <a:gd name="connsiteX18" fmla="*/ 139982 w 173165"/>
                  <a:gd name="connsiteY18" fmla="*/ 127426 h 198541"/>
                  <a:gd name="connsiteX19" fmla="*/ 153984 w 173165"/>
                  <a:gd name="connsiteY19" fmla="*/ 86564 h 198541"/>
                  <a:gd name="connsiteX20" fmla="*/ 134267 w 173165"/>
                  <a:gd name="connsiteY20" fmla="*/ 37129 h 198541"/>
                  <a:gd name="connsiteX21" fmla="*/ 86642 w 173165"/>
                  <a:gd name="connsiteY21" fmla="*/ 18746 h 198541"/>
                  <a:gd name="connsiteX22" fmla="*/ 19110 w 173165"/>
                  <a:gd name="connsiteY22" fmla="*/ 86278 h 198541"/>
                  <a:gd name="connsiteX23" fmla="*/ 33112 w 173165"/>
                  <a:gd name="connsiteY23" fmla="*/ 127521 h 198541"/>
                  <a:gd name="connsiteX24" fmla="*/ 33112 w 173165"/>
                  <a:gd name="connsiteY24" fmla="*/ 127521 h 198541"/>
                  <a:gd name="connsiteX25" fmla="*/ 50066 w 173165"/>
                  <a:gd name="connsiteY25" fmla="*/ 164097 h 198541"/>
                  <a:gd name="connsiteX26" fmla="*/ 52162 w 173165"/>
                  <a:gd name="connsiteY26" fmla="*/ 177242 h 198541"/>
                  <a:gd name="connsiteX27" fmla="*/ 52257 w 173165"/>
                  <a:gd name="connsiteY27" fmla="*/ 179147 h 198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73165" h="198541">
                    <a:moveTo>
                      <a:pt x="123028" y="198197"/>
                    </a:moveTo>
                    <a:lnTo>
                      <a:pt x="49971" y="198197"/>
                    </a:lnTo>
                    <a:cubicBezTo>
                      <a:pt x="44923" y="198197"/>
                      <a:pt x="33112" y="196196"/>
                      <a:pt x="33112" y="177528"/>
                    </a:cubicBezTo>
                    <a:cubicBezTo>
                      <a:pt x="33074" y="174775"/>
                      <a:pt x="32626" y="172051"/>
                      <a:pt x="31778" y="169431"/>
                    </a:cubicBezTo>
                    <a:cubicBezTo>
                      <a:pt x="28225" y="158039"/>
                      <a:pt x="23091" y="147200"/>
                      <a:pt x="16538" y="137237"/>
                    </a:cubicBezTo>
                    <a:cubicBezTo>
                      <a:pt x="6518" y="122044"/>
                      <a:pt x="765" y="104452"/>
                      <a:pt x="-131" y="86278"/>
                    </a:cubicBezTo>
                    <a:cubicBezTo>
                      <a:pt x="-73" y="38481"/>
                      <a:pt x="38655" y="-257"/>
                      <a:pt x="86452" y="-304"/>
                    </a:cubicBezTo>
                    <a:cubicBezTo>
                      <a:pt x="109312" y="-1000"/>
                      <a:pt x="131476" y="7668"/>
                      <a:pt x="147793" y="23699"/>
                    </a:cubicBezTo>
                    <a:cubicBezTo>
                      <a:pt x="164080" y="40634"/>
                      <a:pt x="173139" y="63256"/>
                      <a:pt x="173034" y="86754"/>
                    </a:cubicBezTo>
                    <a:cubicBezTo>
                      <a:pt x="172205" y="104861"/>
                      <a:pt x="166405" y="122397"/>
                      <a:pt x="156270" y="137427"/>
                    </a:cubicBezTo>
                    <a:cubicBezTo>
                      <a:pt x="149621" y="146990"/>
                      <a:pt x="144564" y="157573"/>
                      <a:pt x="141316" y="168764"/>
                    </a:cubicBezTo>
                    <a:cubicBezTo>
                      <a:pt x="140554" y="172289"/>
                      <a:pt x="139982" y="176765"/>
                      <a:pt x="139792" y="178289"/>
                    </a:cubicBezTo>
                    <a:cubicBezTo>
                      <a:pt x="140363" y="183528"/>
                      <a:pt x="138744" y="188767"/>
                      <a:pt x="135315" y="192767"/>
                    </a:cubicBezTo>
                    <a:cubicBezTo>
                      <a:pt x="132200" y="196273"/>
                      <a:pt x="127714" y="198254"/>
                      <a:pt x="123028" y="198197"/>
                    </a:cubicBezTo>
                    <a:close/>
                    <a:moveTo>
                      <a:pt x="52257" y="179147"/>
                    </a:moveTo>
                    <a:lnTo>
                      <a:pt x="120742" y="179147"/>
                    </a:lnTo>
                    <a:lnTo>
                      <a:pt x="120742" y="178575"/>
                    </a:lnTo>
                    <a:cubicBezTo>
                      <a:pt x="121018" y="173889"/>
                      <a:pt x="121685" y="169241"/>
                      <a:pt x="122742" y="164669"/>
                    </a:cubicBezTo>
                    <a:cubicBezTo>
                      <a:pt x="126419" y="151400"/>
                      <a:pt x="132248" y="138818"/>
                      <a:pt x="139982" y="127426"/>
                    </a:cubicBezTo>
                    <a:cubicBezTo>
                      <a:pt x="148317" y="115358"/>
                      <a:pt x="153165" y="101213"/>
                      <a:pt x="153984" y="86564"/>
                    </a:cubicBezTo>
                    <a:cubicBezTo>
                      <a:pt x="154022" y="68161"/>
                      <a:pt x="146964" y="50455"/>
                      <a:pt x="134267" y="37129"/>
                    </a:cubicBezTo>
                    <a:cubicBezTo>
                      <a:pt x="121580" y="24727"/>
                      <a:pt x="104368" y="18088"/>
                      <a:pt x="86642" y="18746"/>
                    </a:cubicBezTo>
                    <a:cubicBezTo>
                      <a:pt x="49371" y="18793"/>
                      <a:pt x="19167" y="49007"/>
                      <a:pt x="19110" y="86278"/>
                    </a:cubicBezTo>
                    <a:cubicBezTo>
                      <a:pt x="20091" y="101013"/>
                      <a:pt x="24920" y="115234"/>
                      <a:pt x="33112" y="127521"/>
                    </a:cubicBezTo>
                    <a:lnTo>
                      <a:pt x="33112" y="127521"/>
                    </a:lnTo>
                    <a:cubicBezTo>
                      <a:pt x="40513" y="138827"/>
                      <a:pt x="46228" y="151143"/>
                      <a:pt x="50066" y="164097"/>
                    </a:cubicBezTo>
                    <a:cubicBezTo>
                      <a:pt x="51390" y="168355"/>
                      <a:pt x="52095" y="172784"/>
                      <a:pt x="52162" y="177242"/>
                    </a:cubicBezTo>
                    <a:cubicBezTo>
                      <a:pt x="52124" y="177880"/>
                      <a:pt x="52152" y="178518"/>
                      <a:pt x="52257" y="179147"/>
                    </a:cubicBezTo>
                    <a:close/>
                  </a:path>
                </a:pathLst>
              </a:custGeom>
              <a:grpFill/>
              <a:ln w="9525" cap="flat">
                <a:noFill/>
                <a:prstDash val="solid"/>
                <a:miter/>
              </a:ln>
            </p:spPr>
            <p:txBody>
              <a:bodyPr rtlCol="0" anchor="ctr"/>
              <a:lstStyle/>
              <a:p>
                <a:endParaRPr lang="en-US"/>
              </a:p>
            </p:txBody>
          </p:sp>
          <p:sp>
            <p:nvSpPr>
              <p:cNvPr id="118" name="Freeform: Shape 117">
                <a:extLst>
                  <a:ext uri="{FF2B5EF4-FFF2-40B4-BE49-F238E27FC236}">
                    <a16:creationId xmlns:a16="http://schemas.microsoft.com/office/drawing/2014/main" id="{2E10ACDF-E25B-3B2F-35E8-FFCCBBB8C6E2}"/>
                  </a:ext>
                </a:extLst>
              </p:cNvPr>
              <p:cNvSpPr/>
              <p:nvPr/>
            </p:nvSpPr>
            <p:spPr>
              <a:xfrm>
                <a:off x="8452623" y="1887669"/>
                <a:ext cx="68961" cy="68865"/>
              </a:xfrm>
              <a:custGeom>
                <a:avLst/>
                <a:gdLst>
                  <a:gd name="connsiteX0" fmla="*/ 9394 w 68961"/>
                  <a:gd name="connsiteY0" fmla="*/ 68523 h 68865"/>
                  <a:gd name="connsiteX1" fmla="*/ -131 w 68961"/>
                  <a:gd name="connsiteY1" fmla="*/ 58998 h 68865"/>
                  <a:gd name="connsiteX2" fmla="*/ 59305 w 68961"/>
                  <a:gd name="connsiteY2" fmla="*/ -343 h 68865"/>
                  <a:gd name="connsiteX3" fmla="*/ 68830 w 68961"/>
                  <a:gd name="connsiteY3" fmla="*/ 9182 h 68865"/>
                  <a:gd name="connsiteX4" fmla="*/ 59305 w 68961"/>
                  <a:gd name="connsiteY4" fmla="*/ 18707 h 68865"/>
                  <a:gd name="connsiteX5" fmla="*/ 18919 w 68961"/>
                  <a:gd name="connsiteY5" fmla="*/ 58998 h 68865"/>
                  <a:gd name="connsiteX6" fmla="*/ 9394 w 68961"/>
                  <a:gd name="connsiteY6" fmla="*/ 68523 h 68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961" h="68865">
                    <a:moveTo>
                      <a:pt x="9394" y="68523"/>
                    </a:moveTo>
                    <a:cubicBezTo>
                      <a:pt x="4136" y="68523"/>
                      <a:pt x="-131" y="64256"/>
                      <a:pt x="-131" y="58998"/>
                    </a:cubicBezTo>
                    <a:cubicBezTo>
                      <a:pt x="-26" y="26232"/>
                      <a:pt x="26539" y="-295"/>
                      <a:pt x="59305" y="-343"/>
                    </a:cubicBezTo>
                    <a:cubicBezTo>
                      <a:pt x="64563" y="-343"/>
                      <a:pt x="68830" y="3924"/>
                      <a:pt x="68830" y="9182"/>
                    </a:cubicBezTo>
                    <a:cubicBezTo>
                      <a:pt x="68830" y="14440"/>
                      <a:pt x="64563" y="18707"/>
                      <a:pt x="59305" y="18707"/>
                    </a:cubicBezTo>
                    <a:cubicBezTo>
                      <a:pt x="37036" y="18707"/>
                      <a:pt x="18976" y="36728"/>
                      <a:pt x="18919" y="58998"/>
                    </a:cubicBezTo>
                    <a:cubicBezTo>
                      <a:pt x="18919" y="64256"/>
                      <a:pt x="14652" y="68523"/>
                      <a:pt x="9394" y="68523"/>
                    </a:cubicBezTo>
                    <a:close/>
                  </a:path>
                </a:pathLst>
              </a:custGeom>
              <a:grpFill/>
              <a:ln w="9525" cap="flat">
                <a:noFill/>
                <a:prstDash val="solid"/>
                <a:miter/>
              </a:ln>
            </p:spPr>
            <p:txBody>
              <a:bodyPr rtlCol="0" anchor="ctr"/>
              <a:lstStyle/>
              <a:p>
                <a:endParaRPr lang="en-US"/>
              </a:p>
            </p:txBody>
          </p:sp>
          <p:sp>
            <p:nvSpPr>
              <p:cNvPr id="119" name="Freeform: Shape 118">
                <a:extLst>
                  <a:ext uri="{FF2B5EF4-FFF2-40B4-BE49-F238E27FC236}">
                    <a16:creationId xmlns:a16="http://schemas.microsoft.com/office/drawing/2014/main" id="{94588702-F202-A369-C0B3-0F037255E173}"/>
                  </a:ext>
                </a:extLst>
              </p:cNvPr>
              <p:cNvSpPr/>
              <p:nvPr/>
            </p:nvSpPr>
            <p:spPr>
              <a:xfrm>
                <a:off x="8457578" y="2035308"/>
                <a:ext cx="96930" cy="52583"/>
              </a:xfrm>
              <a:custGeom>
                <a:avLst/>
                <a:gdLst>
                  <a:gd name="connsiteX0" fmla="*/ 48350 w 96930"/>
                  <a:gd name="connsiteY0" fmla="*/ 52042 h 52583"/>
                  <a:gd name="connsiteX1" fmla="*/ 17870 w 96930"/>
                  <a:gd name="connsiteY1" fmla="*/ 36898 h 52583"/>
                  <a:gd name="connsiteX2" fmla="*/ -37 w 96930"/>
                  <a:gd name="connsiteY2" fmla="*/ 10609 h 52583"/>
                  <a:gd name="connsiteX3" fmla="*/ 8154 w 96930"/>
                  <a:gd name="connsiteY3" fmla="*/ -250 h 52583"/>
                  <a:gd name="connsiteX4" fmla="*/ 19013 w 96930"/>
                  <a:gd name="connsiteY4" fmla="*/ 7942 h 52583"/>
                  <a:gd name="connsiteX5" fmla="*/ 29681 w 96930"/>
                  <a:gd name="connsiteY5" fmla="*/ 21658 h 52583"/>
                  <a:gd name="connsiteX6" fmla="*/ 34348 w 96930"/>
                  <a:gd name="connsiteY6" fmla="*/ 26801 h 52583"/>
                  <a:gd name="connsiteX7" fmla="*/ 48445 w 96930"/>
                  <a:gd name="connsiteY7" fmla="*/ 32802 h 52583"/>
                  <a:gd name="connsiteX8" fmla="*/ 62637 w 96930"/>
                  <a:gd name="connsiteY8" fmla="*/ 26801 h 52583"/>
                  <a:gd name="connsiteX9" fmla="*/ 67304 w 96930"/>
                  <a:gd name="connsiteY9" fmla="*/ 21658 h 52583"/>
                  <a:gd name="connsiteX10" fmla="*/ 77877 w 96930"/>
                  <a:gd name="connsiteY10" fmla="*/ 8227 h 52583"/>
                  <a:gd name="connsiteX11" fmla="*/ 88355 w 96930"/>
                  <a:gd name="connsiteY11" fmla="*/ -155 h 52583"/>
                  <a:gd name="connsiteX12" fmla="*/ 96737 w 96930"/>
                  <a:gd name="connsiteY12" fmla="*/ 10390 h 52583"/>
                  <a:gd name="connsiteX13" fmla="*/ 96737 w 96930"/>
                  <a:gd name="connsiteY13" fmla="*/ 10418 h 52583"/>
                  <a:gd name="connsiteX14" fmla="*/ 78925 w 96930"/>
                  <a:gd name="connsiteY14" fmla="*/ 36898 h 52583"/>
                  <a:gd name="connsiteX15" fmla="*/ 48350 w 96930"/>
                  <a:gd name="connsiteY15" fmla="*/ 52042 h 52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6930" h="52583">
                    <a:moveTo>
                      <a:pt x="48350" y="52042"/>
                    </a:moveTo>
                    <a:cubicBezTo>
                      <a:pt x="36101" y="53405"/>
                      <a:pt x="24185" y="47489"/>
                      <a:pt x="17870" y="36898"/>
                    </a:cubicBezTo>
                    <a:cubicBezTo>
                      <a:pt x="8297" y="31221"/>
                      <a:pt x="1744" y="21591"/>
                      <a:pt x="-37" y="10609"/>
                    </a:cubicBezTo>
                    <a:cubicBezTo>
                      <a:pt x="-771" y="5351"/>
                      <a:pt x="2896" y="484"/>
                      <a:pt x="8154" y="-250"/>
                    </a:cubicBezTo>
                    <a:cubicBezTo>
                      <a:pt x="13412" y="-983"/>
                      <a:pt x="18279" y="2684"/>
                      <a:pt x="19013" y="7942"/>
                    </a:cubicBezTo>
                    <a:cubicBezTo>
                      <a:pt x="20156" y="13962"/>
                      <a:pt x="24128" y="19067"/>
                      <a:pt x="29681" y="21658"/>
                    </a:cubicBezTo>
                    <a:cubicBezTo>
                      <a:pt x="31824" y="22724"/>
                      <a:pt x="33491" y="24563"/>
                      <a:pt x="34348" y="26801"/>
                    </a:cubicBezTo>
                    <a:cubicBezTo>
                      <a:pt x="36158" y="31754"/>
                      <a:pt x="43016" y="32802"/>
                      <a:pt x="48445" y="32802"/>
                    </a:cubicBezTo>
                    <a:cubicBezTo>
                      <a:pt x="53874" y="32802"/>
                      <a:pt x="60827" y="31754"/>
                      <a:pt x="62637" y="26801"/>
                    </a:cubicBezTo>
                    <a:cubicBezTo>
                      <a:pt x="63494" y="24563"/>
                      <a:pt x="65161" y="22724"/>
                      <a:pt x="67304" y="21658"/>
                    </a:cubicBezTo>
                    <a:cubicBezTo>
                      <a:pt x="72524" y="18819"/>
                      <a:pt x="76344" y="13962"/>
                      <a:pt x="77877" y="8227"/>
                    </a:cubicBezTo>
                    <a:cubicBezTo>
                      <a:pt x="78477" y="3027"/>
                      <a:pt x="83154" y="-717"/>
                      <a:pt x="88355" y="-155"/>
                    </a:cubicBezTo>
                    <a:cubicBezTo>
                      <a:pt x="93584" y="446"/>
                      <a:pt x="97337" y="5160"/>
                      <a:pt x="96737" y="10390"/>
                    </a:cubicBezTo>
                    <a:cubicBezTo>
                      <a:pt x="96737" y="10399"/>
                      <a:pt x="96737" y="10409"/>
                      <a:pt x="96737" y="10418"/>
                    </a:cubicBezTo>
                    <a:cubicBezTo>
                      <a:pt x="94784" y="21353"/>
                      <a:pt x="88317" y="30964"/>
                      <a:pt x="78925" y="36898"/>
                    </a:cubicBezTo>
                    <a:cubicBezTo>
                      <a:pt x="72581" y="47499"/>
                      <a:pt x="60627" y="53423"/>
                      <a:pt x="48350" y="52042"/>
                    </a:cubicBezTo>
                    <a:close/>
                  </a:path>
                </a:pathLst>
              </a:custGeom>
              <a:grpFill/>
              <a:ln w="9525" cap="flat">
                <a:noFill/>
                <a:prstDash val="solid"/>
                <a:miter/>
              </a:ln>
            </p:spPr>
            <p:txBody>
              <a:bodyPr rtlCol="0" anchor="ctr"/>
              <a:lstStyle/>
              <a:p>
                <a:endParaRPr lang="en-US"/>
              </a:p>
            </p:txBody>
          </p:sp>
        </p:grpSp>
        <p:sp>
          <p:nvSpPr>
            <p:cNvPr id="121" name="TextBox 120">
              <a:extLst>
                <a:ext uri="{FF2B5EF4-FFF2-40B4-BE49-F238E27FC236}">
                  <a16:creationId xmlns:a16="http://schemas.microsoft.com/office/drawing/2014/main" id="{2712497D-8C72-60AA-74A7-3467E0E8A65D}"/>
                </a:ext>
              </a:extLst>
            </p:cNvPr>
            <p:cNvSpPr txBox="1"/>
            <p:nvPr/>
          </p:nvSpPr>
          <p:spPr>
            <a:xfrm>
              <a:off x="5132771" y="3346369"/>
              <a:ext cx="2053408" cy="546153"/>
            </a:xfrm>
            <a:prstGeom prst="rect">
              <a:avLst/>
            </a:prstGeom>
            <a:noFill/>
          </p:spPr>
          <p:txBody>
            <a:bodyPr wrap="square" rtlCol="0">
              <a:spAutoFit/>
            </a:bodyPr>
            <a:lstStyle/>
            <a:p>
              <a:r>
                <a:rPr lang="en-US" sz="1400" b="1" dirty="0"/>
                <a:t>Agility of </a:t>
              </a:r>
            </a:p>
            <a:p>
              <a:r>
                <a:rPr lang="en-US" sz="1400" b="1" dirty="0"/>
                <a:t>innovation</a:t>
              </a:r>
            </a:p>
          </p:txBody>
        </p:sp>
        <p:grpSp>
          <p:nvGrpSpPr>
            <p:cNvPr id="122" name="Group 121">
              <a:extLst>
                <a:ext uri="{FF2B5EF4-FFF2-40B4-BE49-F238E27FC236}">
                  <a16:creationId xmlns:a16="http://schemas.microsoft.com/office/drawing/2014/main" id="{16423E32-F61D-7C83-7DA1-5276FE4FE2A4}"/>
                </a:ext>
              </a:extLst>
            </p:cNvPr>
            <p:cNvGrpSpPr/>
            <p:nvPr/>
          </p:nvGrpSpPr>
          <p:grpSpPr>
            <a:xfrm>
              <a:off x="7009515" y="4433423"/>
              <a:ext cx="539418" cy="434976"/>
              <a:chOff x="319802" y="2328095"/>
              <a:chExt cx="546101" cy="434976"/>
            </a:xfrm>
            <a:solidFill>
              <a:srgbClr val="7030A0"/>
            </a:solidFill>
          </p:grpSpPr>
          <p:sp>
            <p:nvSpPr>
              <p:cNvPr id="123" name="Freeform 83">
                <a:extLst>
                  <a:ext uri="{FF2B5EF4-FFF2-40B4-BE49-F238E27FC236}">
                    <a16:creationId xmlns:a16="http://schemas.microsoft.com/office/drawing/2014/main" id="{03080727-F825-A3DB-E8CA-5A85C5B3E337}"/>
                  </a:ext>
                </a:extLst>
              </p:cNvPr>
              <p:cNvSpPr>
                <a:spLocks noEditPoints="1"/>
              </p:cNvSpPr>
              <p:nvPr/>
            </p:nvSpPr>
            <p:spPr bwMode="auto">
              <a:xfrm>
                <a:off x="319802" y="2328095"/>
                <a:ext cx="546101" cy="434976"/>
              </a:xfrm>
              <a:custGeom>
                <a:avLst/>
                <a:gdLst>
                  <a:gd name="T0" fmla="*/ 107 w 145"/>
                  <a:gd name="T1" fmla="*/ 55 h 115"/>
                  <a:gd name="T2" fmla="*/ 107 w 145"/>
                  <a:gd name="T3" fmla="*/ 30 h 115"/>
                  <a:gd name="T4" fmla="*/ 107 w 145"/>
                  <a:gd name="T5" fmla="*/ 2 h 115"/>
                  <a:gd name="T6" fmla="*/ 41 w 145"/>
                  <a:gd name="T7" fmla="*/ 0 h 115"/>
                  <a:gd name="T8" fmla="*/ 39 w 145"/>
                  <a:gd name="T9" fmla="*/ 16 h 115"/>
                  <a:gd name="T10" fmla="*/ 39 w 145"/>
                  <a:gd name="T11" fmla="*/ 43 h 115"/>
                  <a:gd name="T12" fmla="*/ 34 w 145"/>
                  <a:gd name="T13" fmla="*/ 47 h 115"/>
                  <a:gd name="T14" fmla="*/ 34 w 145"/>
                  <a:gd name="T15" fmla="*/ 115 h 115"/>
                  <a:gd name="T16" fmla="*/ 41 w 145"/>
                  <a:gd name="T17" fmla="*/ 115 h 115"/>
                  <a:gd name="T18" fmla="*/ 143 w 145"/>
                  <a:gd name="T19" fmla="*/ 115 h 115"/>
                  <a:gd name="T20" fmla="*/ 145 w 145"/>
                  <a:gd name="T21" fmla="*/ 99 h 115"/>
                  <a:gd name="T22" fmla="*/ 145 w 145"/>
                  <a:gd name="T23" fmla="*/ 71 h 115"/>
                  <a:gd name="T24" fmla="*/ 143 w 145"/>
                  <a:gd name="T25" fmla="*/ 55 h 115"/>
                  <a:gd name="T26" fmla="*/ 66 w 145"/>
                  <a:gd name="T27" fmla="*/ 92 h 115"/>
                  <a:gd name="T28" fmla="*/ 67 w 145"/>
                  <a:gd name="T29" fmla="*/ 88 h 115"/>
                  <a:gd name="T30" fmla="*/ 78 w 145"/>
                  <a:gd name="T31" fmla="*/ 87 h 115"/>
                  <a:gd name="T32" fmla="*/ 64 w 145"/>
                  <a:gd name="T33" fmla="*/ 97 h 115"/>
                  <a:gd name="T34" fmla="*/ 62 w 145"/>
                  <a:gd name="T35" fmla="*/ 62 h 115"/>
                  <a:gd name="T36" fmla="*/ 78 w 145"/>
                  <a:gd name="T37" fmla="*/ 59 h 115"/>
                  <a:gd name="T38" fmla="*/ 65 w 145"/>
                  <a:gd name="T39" fmla="*/ 69 h 115"/>
                  <a:gd name="T40" fmla="*/ 64 w 145"/>
                  <a:gd name="T41" fmla="*/ 66 h 115"/>
                  <a:gd name="T42" fmla="*/ 62 w 145"/>
                  <a:gd name="T43" fmla="*/ 62 h 115"/>
                  <a:gd name="T44" fmla="*/ 82 w 145"/>
                  <a:gd name="T45" fmla="*/ 83 h 115"/>
                  <a:gd name="T46" fmla="*/ 141 w 145"/>
                  <a:gd name="T47" fmla="*/ 73 h 115"/>
                  <a:gd name="T48" fmla="*/ 68 w 145"/>
                  <a:gd name="T49" fmla="*/ 81 h 115"/>
                  <a:gd name="T50" fmla="*/ 67 w 145"/>
                  <a:gd name="T51" fmla="*/ 75 h 115"/>
                  <a:gd name="T52" fmla="*/ 78 w 145"/>
                  <a:gd name="T53" fmla="*/ 73 h 115"/>
                  <a:gd name="T54" fmla="*/ 67 w 145"/>
                  <a:gd name="T55" fmla="*/ 83 h 115"/>
                  <a:gd name="T56" fmla="*/ 82 w 145"/>
                  <a:gd name="T57" fmla="*/ 87 h 115"/>
                  <a:gd name="T58" fmla="*/ 141 w 145"/>
                  <a:gd name="T59" fmla="*/ 97 h 115"/>
                  <a:gd name="T60" fmla="*/ 82 w 145"/>
                  <a:gd name="T61" fmla="*/ 87 h 115"/>
                  <a:gd name="T62" fmla="*/ 82 w 145"/>
                  <a:gd name="T63" fmla="*/ 69 h 115"/>
                  <a:gd name="T64" fmla="*/ 105 w 145"/>
                  <a:gd name="T65" fmla="*/ 59 h 115"/>
                  <a:gd name="T66" fmla="*/ 141 w 145"/>
                  <a:gd name="T67" fmla="*/ 69 h 115"/>
                  <a:gd name="T68" fmla="*/ 55 w 145"/>
                  <a:gd name="T69" fmla="*/ 55 h 115"/>
                  <a:gd name="T70" fmla="*/ 53 w 145"/>
                  <a:gd name="T71" fmla="*/ 53 h 115"/>
                  <a:gd name="T72" fmla="*/ 49 w 145"/>
                  <a:gd name="T73" fmla="*/ 51 h 115"/>
                  <a:gd name="T74" fmla="*/ 45 w 145"/>
                  <a:gd name="T75" fmla="*/ 49 h 115"/>
                  <a:gd name="T76" fmla="*/ 43 w 145"/>
                  <a:gd name="T77" fmla="*/ 45 h 115"/>
                  <a:gd name="T78" fmla="*/ 103 w 145"/>
                  <a:gd name="T79" fmla="*/ 55 h 115"/>
                  <a:gd name="T80" fmla="*/ 43 w 145"/>
                  <a:gd name="T81" fmla="*/ 32 h 115"/>
                  <a:gd name="T82" fmla="*/ 103 w 145"/>
                  <a:gd name="T83" fmla="*/ 41 h 115"/>
                  <a:gd name="T84" fmla="*/ 43 w 145"/>
                  <a:gd name="T85" fmla="*/ 32 h 115"/>
                  <a:gd name="T86" fmla="*/ 43 w 145"/>
                  <a:gd name="T87" fmla="*/ 28 h 115"/>
                  <a:gd name="T88" fmla="*/ 103 w 145"/>
                  <a:gd name="T89" fmla="*/ 18 h 115"/>
                  <a:gd name="T90" fmla="*/ 43 w 145"/>
                  <a:gd name="T91" fmla="*/ 4 h 115"/>
                  <a:gd name="T92" fmla="*/ 103 w 145"/>
                  <a:gd name="T93" fmla="*/ 14 h 115"/>
                  <a:gd name="T94" fmla="*/ 43 w 145"/>
                  <a:gd name="T95" fmla="*/ 4 h 115"/>
                  <a:gd name="T96" fmla="*/ 34 w 145"/>
                  <a:gd name="T97" fmla="*/ 51 h 115"/>
                  <a:gd name="T98" fmla="*/ 48 w 145"/>
                  <a:gd name="T99" fmla="*/ 55 h 115"/>
                  <a:gd name="T100" fmla="*/ 62 w 145"/>
                  <a:gd name="T101" fmla="*/ 72 h 115"/>
                  <a:gd name="T102" fmla="*/ 63 w 145"/>
                  <a:gd name="T103" fmla="*/ 85 h 115"/>
                  <a:gd name="T104" fmla="*/ 41 w 145"/>
                  <a:gd name="T105" fmla="*/ 110 h 115"/>
                  <a:gd name="T106" fmla="*/ 4 w 145"/>
                  <a:gd name="T107" fmla="*/ 81 h 115"/>
                  <a:gd name="T108" fmla="*/ 53 w 145"/>
                  <a:gd name="T109" fmla="*/ 109 h 115"/>
                  <a:gd name="T110" fmla="*/ 56 w 145"/>
                  <a:gd name="T111" fmla="*/ 107 h 115"/>
                  <a:gd name="T112" fmla="*/ 58 w 145"/>
                  <a:gd name="T113" fmla="*/ 104 h 115"/>
                  <a:gd name="T114" fmla="*/ 61 w 145"/>
                  <a:gd name="T115" fmla="*/ 101 h 115"/>
                  <a:gd name="T116" fmla="*/ 78 w 145"/>
                  <a:gd name="T117" fmla="*/ 101 h 115"/>
                  <a:gd name="T118" fmla="*/ 50 w 145"/>
                  <a:gd name="T119" fmla="*/ 111 h 115"/>
                  <a:gd name="T120" fmla="*/ 141 w 145"/>
                  <a:gd name="T121" fmla="*/ 111 h 115"/>
                  <a:gd name="T122" fmla="*/ 82 w 145"/>
                  <a:gd name="T123" fmla="*/ 101 h 115"/>
                  <a:gd name="T124" fmla="*/ 141 w 145"/>
                  <a:gd name="T125" fmla="*/ 11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5" h="115">
                    <a:moveTo>
                      <a:pt x="143" y="55"/>
                    </a:moveTo>
                    <a:cubicBezTo>
                      <a:pt x="107" y="55"/>
                      <a:pt x="107" y="55"/>
                      <a:pt x="107" y="55"/>
                    </a:cubicBezTo>
                    <a:cubicBezTo>
                      <a:pt x="107" y="43"/>
                      <a:pt x="107" y="43"/>
                      <a:pt x="107" y="43"/>
                    </a:cubicBezTo>
                    <a:cubicBezTo>
                      <a:pt x="107" y="30"/>
                      <a:pt x="107" y="30"/>
                      <a:pt x="107" y="30"/>
                    </a:cubicBezTo>
                    <a:cubicBezTo>
                      <a:pt x="107" y="16"/>
                      <a:pt x="107" y="16"/>
                      <a:pt x="107" y="16"/>
                    </a:cubicBezTo>
                    <a:cubicBezTo>
                      <a:pt x="107" y="2"/>
                      <a:pt x="107" y="2"/>
                      <a:pt x="107" y="2"/>
                    </a:cubicBezTo>
                    <a:cubicBezTo>
                      <a:pt x="107" y="1"/>
                      <a:pt x="106" y="0"/>
                      <a:pt x="105" y="0"/>
                    </a:cubicBezTo>
                    <a:cubicBezTo>
                      <a:pt x="41" y="0"/>
                      <a:pt x="41" y="0"/>
                      <a:pt x="41" y="0"/>
                    </a:cubicBezTo>
                    <a:cubicBezTo>
                      <a:pt x="40" y="0"/>
                      <a:pt x="39" y="1"/>
                      <a:pt x="39" y="2"/>
                    </a:cubicBezTo>
                    <a:cubicBezTo>
                      <a:pt x="39" y="16"/>
                      <a:pt x="39" y="16"/>
                      <a:pt x="39" y="16"/>
                    </a:cubicBezTo>
                    <a:cubicBezTo>
                      <a:pt x="39" y="30"/>
                      <a:pt x="39" y="30"/>
                      <a:pt x="39" y="30"/>
                    </a:cubicBezTo>
                    <a:cubicBezTo>
                      <a:pt x="39" y="43"/>
                      <a:pt x="39" y="43"/>
                      <a:pt x="39" y="43"/>
                    </a:cubicBezTo>
                    <a:cubicBezTo>
                      <a:pt x="39" y="48"/>
                      <a:pt x="39" y="48"/>
                      <a:pt x="39" y="48"/>
                    </a:cubicBezTo>
                    <a:cubicBezTo>
                      <a:pt x="38" y="48"/>
                      <a:pt x="36" y="47"/>
                      <a:pt x="34" y="47"/>
                    </a:cubicBezTo>
                    <a:cubicBezTo>
                      <a:pt x="15" y="47"/>
                      <a:pt x="0" y="63"/>
                      <a:pt x="0" y="81"/>
                    </a:cubicBezTo>
                    <a:cubicBezTo>
                      <a:pt x="0" y="100"/>
                      <a:pt x="15" y="115"/>
                      <a:pt x="34" y="115"/>
                    </a:cubicBezTo>
                    <a:cubicBezTo>
                      <a:pt x="36" y="115"/>
                      <a:pt x="38" y="114"/>
                      <a:pt x="40" y="114"/>
                    </a:cubicBezTo>
                    <a:cubicBezTo>
                      <a:pt x="40" y="114"/>
                      <a:pt x="41" y="115"/>
                      <a:pt x="41" y="115"/>
                    </a:cubicBezTo>
                    <a:cubicBezTo>
                      <a:pt x="80" y="115"/>
                      <a:pt x="80" y="115"/>
                      <a:pt x="80" y="115"/>
                    </a:cubicBezTo>
                    <a:cubicBezTo>
                      <a:pt x="143" y="115"/>
                      <a:pt x="143" y="115"/>
                      <a:pt x="143" y="115"/>
                    </a:cubicBezTo>
                    <a:cubicBezTo>
                      <a:pt x="144" y="115"/>
                      <a:pt x="145" y="114"/>
                      <a:pt x="145" y="113"/>
                    </a:cubicBezTo>
                    <a:cubicBezTo>
                      <a:pt x="145" y="99"/>
                      <a:pt x="145" y="99"/>
                      <a:pt x="145" y="99"/>
                    </a:cubicBezTo>
                    <a:cubicBezTo>
                      <a:pt x="145" y="85"/>
                      <a:pt x="145" y="85"/>
                      <a:pt x="145" y="85"/>
                    </a:cubicBezTo>
                    <a:cubicBezTo>
                      <a:pt x="145" y="71"/>
                      <a:pt x="145" y="71"/>
                      <a:pt x="145" y="71"/>
                    </a:cubicBezTo>
                    <a:cubicBezTo>
                      <a:pt x="145" y="57"/>
                      <a:pt x="145" y="57"/>
                      <a:pt x="145" y="57"/>
                    </a:cubicBezTo>
                    <a:cubicBezTo>
                      <a:pt x="145" y="56"/>
                      <a:pt x="144" y="55"/>
                      <a:pt x="143" y="55"/>
                    </a:cubicBezTo>
                    <a:close/>
                    <a:moveTo>
                      <a:pt x="64" y="97"/>
                    </a:moveTo>
                    <a:cubicBezTo>
                      <a:pt x="64" y="95"/>
                      <a:pt x="65" y="94"/>
                      <a:pt x="66" y="92"/>
                    </a:cubicBezTo>
                    <a:cubicBezTo>
                      <a:pt x="66" y="92"/>
                      <a:pt x="66" y="92"/>
                      <a:pt x="66" y="91"/>
                    </a:cubicBezTo>
                    <a:cubicBezTo>
                      <a:pt x="66" y="90"/>
                      <a:pt x="67" y="89"/>
                      <a:pt x="67" y="88"/>
                    </a:cubicBezTo>
                    <a:cubicBezTo>
                      <a:pt x="67" y="87"/>
                      <a:pt x="67" y="87"/>
                      <a:pt x="67" y="87"/>
                    </a:cubicBezTo>
                    <a:cubicBezTo>
                      <a:pt x="78" y="87"/>
                      <a:pt x="78" y="87"/>
                      <a:pt x="78" y="87"/>
                    </a:cubicBezTo>
                    <a:cubicBezTo>
                      <a:pt x="78" y="97"/>
                      <a:pt x="78" y="97"/>
                      <a:pt x="78" y="97"/>
                    </a:cubicBezTo>
                    <a:cubicBezTo>
                      <a:pt x="64" y="97"/>
                      <a:pt x="64" y="97"/>
                      <a:pt x="64" y="97"/>
                    </a:cubicBezTo>
                    <a:cubicBezTo>
                      <a:pt x="64" y="97"/>
                      <a:pt x="64" y="97"/>
                      <a:pt x="64" y="97"/>
                    </a:cubicBezTo>
                    <a:close/>
                    <a:moveTo>
                      <a:pt x="62" y="62"/>
                    </a:moveTo>
                    <a:cubicBezTo>
                      <a:pt x="61" y="61"/>
                      <a:pt x="60" y="60"/>
                      <a:pt x="59" y="59"/>
                    </a:cubicBezTo>
                    <a:cubicBezTo>
                      <a:pt x="78" y="59"/>
                      <a:pt x="78" y="59"/>
                      <a:pt x="78" y="59"/>
                    </a:cubicBezTo>
                    <a:cubicBezTo>
                      <a:pt x="78" y="69"/>
                      <a:pt x="78" y="69"/>
                      <a:pt x="78" y="69"/>
                    </a:cubicBezTo>
                    <a:cubicBezTo>
                      <a:pt x="65" y="69"/>
                      <a:pt x="65" y="69"/>
                      <a:pt x="65" y="69"/>
                    </a:cubicBezTo>
                    <a:cubicBezTo>
                      <a:pt x="65" y="68"/>
                      <a:pt x="65" y="67"/>
                      <a:pt x="64" y="66"/>
                    </a:cubicBezTo>
                    <a:cubicBezTo>
                      <a:pt x="64" y="66"/>
                      <a:pt x="64" y="66"/>
                      <a:pt x="64" y="66"/>
                    </a:cubicBezTo>
                    <a:cubicBezTo>
                      <a:pt x="64" y="65"/>
                      <a:pt x="63" y="64"/>
                      <a:pt x="62" y="63"/>
                    </a:cubicBezTo>
                    <a:cubicBezTo>
                      <a:pt x="62" y="63"/>
                      <a:pt x="62" y="62"/>
                      <a:pt x="62" y="62"/>
                    </a:cubicBezTo>
                    <a:close/>
                    <a:moveTo>
                      <a:pt x="141" y="83"/>
                    </a:moveTo>
                    <a:cubicBezTo>
                      <a:pt x="82" y="83"/>
                      <a:pt x="82" y="83"/>
                      <a:pt x="82" y="83"/>
                    </a:cubicBezTo>
                    <a:cubicBezTo>
                      <a:pt x="82" y="73"/>
                      <a:pt x="82" y="73"/>
                      <a:pt x="82" y="73"/>
                    </a:cubicBezTo>
                    <a:cubicBezTo>
                      <a:pt x="141" y="73"/>
                      <a:pt x="141" y="73"/>
                      <a:pt x="141" y="73"/>
                    </a:cubicBezTo>
                    <a:lnTo>
                      <a:pt x="141" y="83"/>
                    </a:lnTo>
                    <a:close/>
                    <a:moveTo>
                      <a:pt x="68" y="81"/>
                    </a:moveTo>
                    <a:cubicBezTo>
                      <a:pt x="68" y="79"/>
                      <a:pt x="67" y="78"/>
                      <a:pt x="67" y="76"/>
                    </a:cubicBezTo>
                    <a:cubicBezTo>
                      <a:pt x="67" y="76"/>
                      <a:pt x="67" y="75"/>
                      <a:pt x="67" y="75"/>
                    </a:cubicBezTo>
                    <a:cubicBezTo>
                      <a:pt x="67" y="74"/>
                      <a:pt x="67" y="74"/>
                      <a:pt x="67" y="73"/>
                    </a:cubicBezTo>
                    <a:cubicBezTo>
                      <a:pt x="78" y="73"/>
                      <a:pt x="78" y="73"/>
                      <a:pt x="78" y="73"/>
                    </a:cubicBezTo>
                    <a:cubicBezTo>
                      <a:pt x="78" y="83"/>
                      <a:pt x="78" y="83"/>
                      <a:pt x="78" y="83"/>
                    </a:cubicBezTo>
                    <a:cubicBezTo>
                      <a:pt x="67" y="83"/>
                      <a:pt x="67" y="83"/>
                      <a:pt x="67" y="83"/>
                    </a:cubicBezTo>
                    <a:cubicBezTo>
                      <a:pt x="68" y="82"/>
                      <a:pt x="68" y="82"/>
                      <a:pt x="68" y="81"/>
                    </a:cubicBezTo>
                    <a:close/>
                    <a:moveTo>
                      <a:pt x="82" y="87"/>
                    </a:moveTo>
                    <a:cubicBezTo>
                      <a:pt x="141" y="87"/>
                      <a:pt x="141" y="87"/>
                      <a:pt x="141" y="87"/>
                    </a:cubicBezTo>
                    <a:cubicBezTo>
                      <a:pt x="141" y="97"/>
                      <a:pt x="141" y="97"/>
                      <a:pt x="141" y="97"/>
                    </a:cubicBezTo>
                    <a:cubicBezTo>
                      <a:pt x="82" y="97"/>
                      <a:pt x="82" y="97"/>
                      <a:pt x="82" y="97"/>
                    </a:cubicBezTo>
                    <a:lnTo>
                      <a:pt x="82" y="87"/>
                    </a:lnTo>
                    <a:close/>
                    <a:moveTo>
                      <a:pt x="141" y="69"/>
                    </a:moveTo>
                    <a:cubicBezTo>
                      <a:pt x="82" y="69"/>
                      <a:pt x="82" y="69"/>
                      <a:pt x="82" y="69"/>
                    </a:cubicBezTo>
                    <a:cubicBezTo>
                      <a:pt x="82" y="59"/>
                      <a:pt x="82" y="59"/>
                      <a:pt x="82" y="59"/>
                    </a:cubicBezTo>
                    <a:cubicBezTo>
                      <a:pt x="105" y="59"/>
                      <a:pt x="105" y="59"/>
                      <a:pt x="105" y="59"/>
                    </a:cubicBezTo>
                    <a:cubicBezTo>
                      <a:pt x="141" y="59"/>
                      <a:pt x="141" y="59"/>
                      <a:pt x="141" y="59"/>
                    </a:cubicBezTo>
                    <a:lnTo>
                      <a:pt x="141" y="69"/>
                    </a:lnTo>
                    <a:close/>
                    <a:moveTo>
                      <a:pt x="80" y="55"/>
                    </a:moveTo>
                    <a:cubicBezTo>
                      <a:pt x="55" y="55"/>
                      <a:pt x="55" y="55"/>
                      <a:pt x="55" y="55"/>
                    </a:cubicBezTo>
                    <a:cubicBezTo>
                      <a:pt x="55" y="55"/>
                      <a:pt x="54" y="54"/>
                      <a:pt x="53" y="54"/>
                    </a:cubicBezTo>
                    <a:cubicBezTo>
                      <a:pt x="53" y="54"/>
                      <a:pt x="53" y="53"/>
                      <a:pt x="53" y="53"/>
                    </a:cubicBezTo>
                    <a:cubicBezTo>
                      <a:pt x="52" y="53"/>
                      <a:pt x="51" y="52"/>
                      <a:pt x="50" y="51"/>
                    </a:cubicBezTo>
                    <a:cubicBezTo>
                      <a:pt x="49" y="51"/>
                      <a:pt x="49" y="51"/>
                      <a:pt x="49" y="51"/>
                    </a:cubicBezTo>
                    <a:cubicBezTo>
                      <a:pt x="48" y="51"/>
                      <a:pt x="47" y="50"/>
                      <a:pt x="46" y="50"/>
                    </a:cubicBezTo>
                    <a:cubicBezTo>
                      <a:pt x="46" y="50"/>
                      <a:pt x="45" y="50"/>
                      <a:pt x="45" y="49"/>
                    </a:cubicBezTo>
                    <a:cubicBezTo>
                      <a:pt x="44" y="49"/>
                      <a:pt x="44" y="49"/>
                      <a:pt x="43" y="49"/>
                    </a:cubicBezTo>
                    <a:cubicBezTo>
                      <a:pt x="43" y="45"/>
                      <a:pt x="43" y="45"/>
                      <a:pt x="43" y="45"/>
                    </a:cubicBezTo>
                    <a:cubicBezTo>
                      <a:pt x="103" y="45"/>
                      <a:pt x="103" y="45"/>
                      <a:pt x="103" y="45"/>
                    </a:cubicBezTo>
                    <a:cubicBezTo>
                      <a:pt x="103" y="55"/>
                      <a:pt x="103" y="55"/>
                      <a:pt x="103" y="55"/>
                    </a:cubicBezTo>
                    <a:lnTo>
                      <a:pt x="80" y="55"/>
                    </a:lnTo>
                    <a:close/>
                    <a:moveTo>
                      <a:pt x="43" y="32"/>
                    </a:moveTo>
                    <a:cubicBezTo>
                      <a:pt x="103" y="32"/>
                      <a:pt x="103" y="32"/>
                      <a:pt x="103" y="32"/>
                    </a:cubicBezTo>
                    <a:cubicBezTo>
                      <a:pt x="103" y="41"/>
                      <a:pt x="103" y="41"/>
                      <a:pt x="103" y="41"/>
                    </a:cubicBezTo>
                    <a:cubicBezTo>
                      <a:pt x="43" y="41"/>
                      <a:pt x="43" y="41"/>
                      <a:pt x="43" y="41"/>
                    </a:cubicBezTo>
                    <a:lnTo>
                      <a:pt x="43" y="32"/>
                    </a:lnTo>
                    <a:close/>
                    <a:moveTo>
                      <a:pt x="103" y="28"/>
                    </a:moveTo>
                    <a:cubicBezTo>
                      <a:pt x="43" y="28"/>
                      <a:pt x="43" y="28"/>
                      <a:pt x="43" y="28"/>
                    </a:cubicBezTo>
                    <a:cubicBezTo>
                      <a:pt x="43" y="18"/>
                      <a:pt x="43" y="18"/>
                      <a:pt x="43" y="18"/>
                    </a:cubicBezTo>
                    <a:cubicBezTo>
                      <a:pt x="103" y="18"/>
                      <a:pt x="103" y="18"/>
                      <a:pt x="103" y="18"/>
                    </a:cubicBezTo>
                    <a:lnTo>
                      <a:pt x="103" y="28"/>
                    </a:lnTo>
                    <a:close/>
                    <a:moveTo>
                      <a:pt x="43" y="4"/>
                    </a:moveTo>
                    <a:cubicBezTo>
                      <a:pt x="103" y="4"/>
                      <a:pt x="103" y="4"/>
                      <a:pt x="103" y="4"/>
                    </a:cubicBezTo>
                    <a:cubicBezTo>
                      <a:pt x="103" y="14"/>
                      <a:pt x="103" y="14"/>
                      <a:pt x="103" y="14"/>
                    </a:cubicBezTo>
                    <a:cubicBezTo>
                      <a:pt x="43" y="14"/>
                      <a:pt x="43" y="14"/>
                      <a:pt x="43" y="14"/>
                    </a:cubicBezTo>
                    <a:lnTo>
                      <a:pt x="43" y="4"/>
                    </a:lnTo>
                    <a:close/>
                    <a:moveTo>
                      <a:pt x="4" y="81"/>
                    </a:moveTo>
                    <a:cubicBezTo>
                      <a:pt x="4" y="65"/>
                      <a:pt x="18" y="51"/>
                      <a:pt x="34" y="51"/>
                    </a:cubicBezTo>
                    <a:cubicBezTo>
                      <a:pt x="36" y="51"/>
                      <a:pt x="39" y="52"/>
                      <a:pt x="41" y="52"/>
                    </a:cubicBezTo>
                    <a:cubicBezTo>
                      <a:pt x="43" y="53"/>
                      <a:pt x="46" y="54"/>
                      <a:pt x="48" y="55"/>
                    </a:cubicBezTo>
                    <a:cubicBezTo>
                      <a:pt x="50" y="56"/>
                      <a:pt x="52" y="57"/>
                      <a:pt x="53" y="59"/>
                    </a:cubicBezTo>
                    <a:cubicBezTo>
                      <a:pt x="57" y="62"/>
                      <a:pt x="60" y="67"/>
                      <a:pt x="62" y="72"/>
                    </a:cubicBezTo>
                    <a:cubicBezTo>
                      <a:pt x="63" y="75"/>
                      <a:pt x="64" y="78"/>
                      <a:pt x="64" y="81"/>
                    </a:cubicBezTo>
                    <a:cubicBezTo>
                      <a:pt x="64" y="82"/>
                      <a:pt x="64" y="83"/>
                      <a:pt x="63" y="85"/>
                    </a:cubicBezTo>
                    <a:cubicBezTo>
                      <a:pt x="63" y="89"/>
                      <a:pt x="61" y="94"/>
                      <a:pt x="58" y="98"/>
                    </a:cubicBezTo>
                    <a:cubicBezTo>
                      <a:pt x="54" y="104"/>
                      <a:pt x="48" y="108"/>
                      <a:pt x="41" y="110"/>
                    </a:cubicBezTo>
                    <a:cubicBezTo>
                      <a:pt x="39" y="110"/>
                      <a:pt x="36" y="111"/>
                      <a:pt x="34" y="111"/>
                    </a:cubicBezTo>
                    <a:cubicBezTo>
                      <a:pt x="18" y="111"/>
                      <a:pt x="4" y="97"/>
                      <a:pt x="4" y="81"/>
                    </a:cubicBezTo>
                    <a:close/>
                    <a:moveTo>
                      <a:pt x="50" y="110"/>
                    </a:moveTo>
                    <a:cubicBezTo>
                      <a:pt x="51" y="110"/>
                      <a:pt x="52" y="109"/>
                      <a:pt x="53" y="109"/>
                    </a:cubicBezTo>
                    <a:cubicBezTo>
                      <a:pt x="53" y="109"/>
                      <a:pt x="53" y="109"/>
                      <a:pt x="53" y="109"/>
                    </a:cubicBezTo>
                    <a:cubicBezTo>
                      <a:pt x="54" y="108"/>
                      <a:pt x="55" y="107"/>
                      <a:pt x="56" y="107"/>
                    </a:cubicBezTo>
                    <a:cubicBezTo>
                      <a:pt x="56" y="106"/>
                      <a:pt x="56" y="106"/>
                      <a:pt x="57" y="106"/>
                    </a:cubicBezTo>
                    <a:cubicBezTo>
                      <a:pt x="57" y="105"/>
                      <a:pt x="58" y="105"/>
                      <a:pt x="58" y="104"/>
                    </a:cubicBezTo>
                    <a:cubicBezTo>
                      <a:pt x="59" y="104"/>
                      <a:pt x="59" y="104"/>
                      <a:pt x="59" y="103"/>
                    </a:cubicBezTo>
                    <a:cubicBezTo>
                      <a:pt x="60" y="103"/>
                      <a:pt x="60" y="102"/>
                      <a:pt x="61" y="101"/>
                    </a:cubicBezTo>
                    <a:cubicBezTo>
                      <a:pt x="61" y="101"/>
                      <a:pt x="61" y="101"/>
                      <a:pt x="61" y="101"/>
                    </a:cubicBezTo>
                    <a:cubicBezTo>
                      <a:pt x="78" y="101"/>
                      <a:pt x="78" y="101"/>
                      <a:pt x="78" y="101"/>
                    </a:cubicBezTo>
                    <a:cubicBezTo>
                      <a:pt x="78" y="111"/>
                      <a:pt x="78" y="111"/>
                      <a:pt x="78" y="111"/>
                    </a:cubicBezTo>
                    <a:cubicBezTo>
                      <a:pt x="50" y="111"/>
                      <a:pt x="50" y="111"/>
                      <a:pt x="50" y="111"/>
                    </a:cubicBezTo>
                    <a:cubicBezTo>
                      <a:pt x="50" y="111"/>
                      <a:pt x="50" y="111"/>
                      <a:pt x="50" y="110"/>
                    </a:cubicBezTo>
                    <a:close/>
                    <a:moveTo>
                      <a:pt x="141" y="111"/>
                    </a:moveTo>
                    <a:cubicBezTo>
                      <a:pt x="82" y="111"/>
                      <a:pt x="82" y="111"/>
                      <a:pt x="82" y="111"/>
                    </a:cubicBezTo>
                    <a:cubicBezTo>
                      <a:pt x="82" y="101"/>
                      <a:pt x="82" y="101"/>
                      <a:pt x="82" y="101"/>
                    </a:cubicBezTo>
                    <a:cubicBezTo>
                      <a:pt x="141" y="101"/>
                      <a:pt x="141" y="101"/>
                      <a:pt x="141" y="101"/>
                    </a:cubicBezTo>
                    <a:lnTo>
                      <a:pt x="141"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91">
                <a:extLst>
                  <a:ext uri="{FF2B5EF4-FFF2-40B4-BE49-F238E27FC236}">
                    <a16:creationId xmlns:a16="http://schemas.microsoft.com/office/drawing/2014/main" id="{DA77A556-0FAB-6CD8-C51D-00D703CDADA5}"/>
                  </a:ext>
                </a:extLst>
              </p:cNvPr>
              <p:cNvSpPr>
                <a:spLocks/>
              </p:cNvSpPr>
              <p:nvPr/>
            </p:nvSpPr>
            <p:spPr bwMode="auto">
              <a:xfrm>
                <a:off x="366079" y="2568426"/>
                <a:ext cx="129222" cy="127172"/>
              </a:xfrm>
              <a:custGeom>
                <a:avLst/>
                <a:gdLst>
                  <a:gd name="T0" fmla="*/ 50 w 53"/>
                  <a:gd name="T1" fmla="*/ 41 h 52"/>
                  <a:gd name="T2" fmla="*/ 34 w 53"/>
                  <a:gd name="T3" fmla="*/ 48 h 52"/>
                  <a:gd name="T4" fmla="*/ 14 w 53"/>
                  <a:gd name="T5" fmla="*/ 36 h 52"/>
                  <a:gd name="T6" fmla="*/ 33 w 53"/>
                  <a:gd name="T7" fmla="*/ 36 h 52"/>
                  <a:gd name="T8" fmla="*/ 35 w 53"/>
                  <a:gd name="T9" fmla="*/ 34 h 52"/>
                  <a:gd name="T10" fmla="*/ 33 w 53"/>
                  <a:gd name="T11" fmla="*/ 32 h 52"/>
                  <a:gd name="T12" fmla="*/ 13 w 53"/>
                  <a:gd name="T13" fmla="*/ 32 h 52"/>
                  <a:gd name="T14" fmla="*/ 12 w 53"/>
                  <a:gd name="T15" fmla="*/ 26 h 52"/>
                  <a:gd name="T16" fmla="*/ 12 w 53"/>
                  <a:gd name="T17" fmla="*/ 23 h 52"/>
                  <a:gd name="T18" fmla="*/ 33 w 53"/>
                  <a:gd name="T19" fmla="*/ 23 h 52"/>
                  <a:gd name="T20" fmla="*/ 35 w 53"/>
                  <a:gd name="T21" fmla="*/ 21 h 52"/>
                  <a:gd name="T22" fmla="*/ 33 w 53"/>
                  <a:gd name="T23" fmla="*/ 19 h 52"/>
                  <a:gd name="T24" fmla="*/ 13 w 53"/>
                  <a:gd name="T25" fmla="*/ 19 h 52"/>
                  <a:gd name="T26" fmla="*/ 34 w 53"/>
                  <a:gd name="T27" fmla="*/ 4 h 52"/>
                  <a:gd name="T28" fmla="*/ 49 w 53"/>
                  <a:gd name="T29" fmla="*/ 11 h 52"/>
                  <a:gd name="T30" fmla="*/ 52 w 53"/>
                  <a:gd name="T31" fmla="*/ 11 h 52"/>
                  <a:gd name="T32" fmla="*/ 52 w 53"/>
                  <a:gd name="T33" fmla="*/ 8 h 52"/>
                  <a:gd name="T34" fmla="*/ 34 w 53"/>
                  <a:gd name="T35" fmla="*/ 0 h 52"/>
                  <a:gd name="T36" fmla="*/ 9 w 53"/>
                  <a:gd name="T37" fmla="*/ 19 h 52"/>
                  <a:gd name="T38" fmla="*/ 2 w 53"/>
                  <a:gd name="T39" fmla="*/ 19 h 52"/>
                  <a:gd name="T40" fmla="*/ 0 w 53"/>
                  <a:gd name="T41" fmla="*/ 21 h 52"/>
                  <a:gd name="T42" fmla="*/ 2 w 53"/>
                  <a:gd name="T43" fmla="*/ 23 h 52"/>
                  <a:gd name="T44" fmla="*/ 8 w 53"/>
                  <a:gd name="T45" fmla="*/ 23 h 52"/>
                  <a:gd name="T46" fmla="*/ 8 w 53"/>
                  <a:gd name="T47" fmla="*/ 26 h 52"/>
                  <a:gd name="T48" fmla="*/ 9 w 53"/>
                  <a:gd name="T49" fmla="*/ 32 h 52"/>
                  <a:gd name="T50" fmla="*/ 2 w 53"/>
                  <a:gd name="T51" fmla="*/ 32 h 52"/>
                  <a:gd name="T52" fmla="*/ 0 w 53"/>
                  <a:gd name="T53" fmla="*/ 34 h 52"/>
                  <a:gd name="T54" fmla="*/ 2 w 53"/>
                  <a:gd name="T55" fmla="*/ 36 h 52"/>
                  <a:gd name="T56" fmla="*/ 10 w 53"/>
                  <a:gd name="T57" fmla="*/ 36 h 52"/>
                  <a:gd name="T58" fmla="*/ 34 w 53"/>
                  <a:gd name="T59" fmla="*/ 52 h 52"/>
                  <a:gd name="T60" fmla="*/ 53 w 53"/>
                  <a:gd name="T61" fmla="*/ 44 h 52"/>
                  <a:gd name="T62" fmla="*/ 53 w 53"/>
                  <a:gd name="T63" fmla="*/ 41 h 52"/>
                  <a:gd name="T64" fmla="*/ 50 w 53"/>
                  <a:gd name="T65" fmla="*/ 4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52">
                    <a:moveTo>
                      <a:pt x="50" y="41"/>
                    </a:moveTo>
                    <a:cubicBezTo>
                      <a:pt x="46" y="46"/>
                      <a:pt x="40" y="48"/>
                      <a:pt x="34" y="48"/>
                    </a:cubicBezTo>
                    <a:cubicBezTo>
                      <a:pt x="25" y="48"/>
                      <a:pt x="18" y="43"/>
                      <a:pt x="14" y="36"/>
                    </a:cubicBezTo>
                    <a:cubicBezTo>
                      <a:pt x="33" y="36"/>
                      <a:pt x="33" y="36"/>
                      <a:pt x="33" y="36"/>
                    </a:cubicBezTo>
                    <a:cubicBezTo>
                      <a:pt x="34" y="36"/>
                      <a:pt x="35" y="35"/>
                      <a:pt x="35" y="34"/>
                    </a:cubicBezTo>
                    <a:cubicBezTo>
                      <a:pt x="35" y="33"/>
                      <a:pt x="34" y="32"/>
                      <a:pt x="33" y="32"/>
                    </a:cubicBezTo>
                    <a:cubicBezTo>
                      <a:pt x="13" y="32"/>
                      <a:pt x="13" y="32"/>
                      <a:pt x="13" y="32"/>
                    </a:cubicBezTo>
                    <a:cubicBezTo>
                      <a:pt x="12" y="30"/>
                      <a:pt x="12" y="28"/>
                      <a:pt x="12" y="26"/>
                    </a:cubicBezTo>
                    <a:cubicBezTo>
                      <a:pt x="12" y="25"/>
                      <a:pt x="12" y="24"/>
                      <a:pt x="12" y="23"/>
                    </a:cubicBezTo>
                    <a:cubicBezTo>
                      <a:pt x="33" y="23"/>
                      <a:pt x="33" y="23"/>
                      <a:pt x="33" y="23"/>
                    </a:cubicBezTo>
                    <a:cubicBezTo>
                      <a:pt x="34" y="23"/>
                      <a:pt x="35" y="22"/>
                      <a:pt x="35" y="21"/>
                    </a:cubicBezTo>
                    <a:cubicBezTo>
                      <a:pt x="35" y="20"/>
                      <a:pt x="34" y="19"/>
                      <a:pt x="33" y="19"/>
                    </a:cubicBezTo>
                    <a:cubicBezTo>
                      <a:pt x="13" y="19"/>
                      <a:pt x="13" y="19"/>
                      <a:pt x="13" y="19"/>
                    </a:cubicBezTo>
                    <a:cubicBezTo>
                      <a:pt x="16" y="10"/>
                      <a:pt x="24" y="4"/>
                      <a:pt x="34" y="4"/>
                    </a:cubicBezTo>
                    <a:cubicBezTo>
                      <a:pt x="40" y="4"/>
                      <a:pt x="45" y="7"/>
                      <a:pt x="49" y="11"/>
                    </a:cubicBezTo>
                    <a:cubicBezTo>
                      <a:pt x="50" y="12"/>
                      <a:pt x="51" y="12"/>
                      <a:pt x="52" y="11"/>
                    </a:cubicBezTo>
                    <a:cubicBezTo>
                      <a:pt x="53" y="10"/>
                      <a:pt x="53" y="9"/>
                      <a:pt x="52" y="8"/>
                    </a:cubicBezTo>
                    <a:cubicBezTo>
                      <a:pt x="47" y="3"/>
                      <a:pt x="41" y="0"/>
                      <a:pt x="34" y="0"/>
                    </a:cubicBezTo>
                    <a:cubicBezTo>
                      <a:pt x="22" y="0"/>
                      <a:pt x="12" y="8"/>
                      <a:pt x="9" y="19"/>
                    </a:cubicBezTo>
                    <a:cubicBezTo>
                      <a:pt x="2" y="19"/>
                      <a:pt x="2" y="19"/>
                      <a:pt x="2" y="19"/>
                    </a:cubicBezTo>
                    <a:cubicBezTo>
                      <a:pt x="1" y="19"/>
                      <a:pt x="0" y="20"/>
                      <a:pt x="0" y="21"/>
                    </a:cubicBezTo>
                    <a:cubicBezTo>
                      <a:pt x="0" y="22"/>
                      <a:pt x="1" y="23"/>
                      <a:pt x="2" y="23"/>
                    </a:cubicBezTo>
                    <a:cubicBezTo>
                      <a:pt x="8" y="23"/>
                      <a:pt x="8" y="23"/>
                      <a:pt x="8" y="23"/>
                    </a:cubicBezTo>
                    <a:cubicBezTo>
                      <a:pt x="8" y="24"/>
                      <a:pt x="8" y="25"/>
                      <a:pt x="8" y="26"/>
                    </a:cubicBezTo>
                    <a:cubicBezTo>
                      <a:pt x="8" y="28"/>
                      <a:pt x="8" y="30"/>
                      <a:pt x="9" y="32"/>
                    </a:cubicBezTo>
                    <a:cubicBezTo>
                      <a:pt x="2" y="32"/>
                      <a:pt x="2" y="32"/>
                      <a:pt x="2" y="32"/>
                    </a:cubicBezTo>
                    <a:cubicBezTo>
                      <a:pt x="1" y="32"/>
                      <a:pt x="0" y="33"/>
                      <a:pt x="0" y="34"/>
                    </a:cubicBezTo>
                    <a:cubicBezTo>
                      <a:pt x="0" y="35"/>
                      <a:pt x="1" y="36"/>
                      <a:pt x="2" y="36"/>
                    </a:cubicBezTo>
                    <a:cubicBezTo>
                      <a:pt x="10" y="36"/>
                      <a:pt x="10" y="36"/>
                      <a:pt x="10" y="36"/>
                    </a:cubicBezTo>
                    <a:cubicBezTo>
                      <a:pt x="14" y="45"/>
                      <a:pt x="23" y="52"/>
                      <a:pt x="34" y="52"/>
                    </a:cubicBezTo>
                    <a:cubicBezTo>
                      <a:pt x="41" y="52"/>
                      <a:pt x="48" y="49"/>
                      <a:pt x="53" y="44"/>
                    </a:cubicBezTo>
                    <a:cubicBezTo>
                      <a:pt x="53" y="43"/>
                      <a:pt x="53" y="42"/>
                      <a:pt x="53" y="41"/>
                    </a:cubicBezTo>
                    <a:cubicBezTo>
                      <a:pt x="52" y="41"/>
                      <a:pt x="50" y="41"/>
                      <a:pt x="50"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6" name="TextBox 125">
              <a:extLst>
                <a:ext uri="{FF2B5EF4-FFF2-40B4-BE49-F238E27FC236}">
                  <a16:creationId xmlns:a16="http://schemas.microsoft.com/office/drawing/2014/main" id="{5C31B406-E5CB-D04A-F434-21E8224224D7}"/>
                </a:ext>
              </a:extLst>
            </p:cNvPr>
            <p:cNvSpPr txBox="1"/>
            <p:nvPr/>
          </p:nvSpPr>
          <p:spPr>
            <a:xfrm>
              <a:off x="4865912" y="4331647"/>
              <a:ext cx="2166390" cy="523220"/>
            </a:xfrm>
            <a:prstGeom prst="rect">
              <a:avLst/>
            </a:prstGeom>
            <a:noFill/>
          </p:spPr>
          <p:txBody>
            <a:bodyPr wrap="square" rtlCol="0">
              <a:spAutoFit/>
            </a:bodyPr>
            <a:lstStyle/>
            <a:p>
              <a:r>
                <a:rPr lang="en-US" sz="1400" b="1" dirty="0"/>
                <a:t>Data center economics </a:t>
              </a:r>
            </a:p>
            <a:p>
              <a:r>
                <a:rPr lang="en-US" sz="1400" b="1" dirty="0"/>
                <a:t>to radio network</a:t>
              </a:r>
            </a:p>
          </p:txBody>
        </p:sp>
      </p:grpSp>
      <p:sp>
        <p:nvSpPr>
          <p:cNvPr id="150" name="TextBox 149">
            <a:extLst>
              <a:ext uri="{FF2B5EF4-FFF2-40B4-BE49-F238E27FC236}">
                <a16:creationId xmlns:a16="http://schemas.microsoft.com/office/drawing/2014/main" id="{1149EC9C-3666-6667-C0FB-83D22C6C0360}"/>
              </a:ext>
            </a:extLst>
          </p:cNvPr>
          <p:cNvSpPr txBox="1"/>
          <p:nvPr/>
        </p:nvSpPr>
        <p:spPr>
          <a:xfrm>
            <a:off x="279840" y="1971708"/>
            <a:ext cx="4806577" cy="1815882"/>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chemeClr val="tx1">
                    <a:lumMod val="50000"/>
                  </a:schemeClr>
                </a:solidFill>
              </a:rPr>
              <a:t>The Goal is for any HW/SW to interoperate both seamlessly and securely regardless of its originating vendor.</a:t>
            </a:r>
          </a:p>
          <a:p>
            <a:endParaRPr lang="en-US" sz="1400" dirty="0">
              <a:solidFill>
                <a:schemeClr val="tx1">
                  <a:lumMod val="50000"/>
                </a:schemeClr>
              </a:solidFill>
            </a:endParaRPr>
          </a:p>
          <a:p>
            <a:pPr marL="285750" indent="-285750">
              <a:buFont typeface="Arial" panose="020B0604020202020204" pitchFamily="34" charset="0"/>
              <a:buChar char="•"/>
            </a:pPr>
            <a:r>
              <a:rPr lang="en-US" sz="1400" dirty="0">
                <a:solidFill>
                  <a:schemeClr val="tx1">
                    <a:lumMod val="50000"/>
                  </a:schemeClr>
                </a:solidFill>
              </a:rPr>
              <a:t>More innovation and more options for the operators.</a:t>
            </a:r>
          </a:p>
          <a:p>
            <a:endParaRPr lang="en-US" sz="1400" dirty="0">
              <a:solidFill>
                <a:schemeClr val="tx1">
                  <a:lumMod val="50000"/>
                </a:schemeClr>
              </a:solidFill>
            </a:endParaRPr>
          </a:p>
          <a:p>
            <a:pPr marL="285750" indent="-285750">
              <a:buFont typeface="Arial" panose="020B0604020202020204" pitchFamily="34" charset="0"/>
              <a:buChar char="•"/>
            </a:pPr>
            <a:r>
              <a:rPr lang="en-US" sz="1400" dirty="0">
                <a:solidFill>
                  <a:schemeClr val="tx1">
                    <a:lumMod val="50000"/>
                  </a:schemeClr>
                </a:solidFill>
              </a:rPr>
              <a:t>Artificial Intelligence can be introduced via the RIC (Ran Intelligent Controller) to optimize the network.</a:t>
            </a:r>
          </a:p>
        </p:txBody>
      </p:sp>
    </p:spTree>
    <p:extLst>
      <p:ext uri="{BB962C8B-B14F-4D97-AF65-F5344CB8AC3E}">
        <p14:creationId xmlns:p14="http://schemas.microsoft.com/office/powerpoint/2010/main" val="34615177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5224" y="1679"/>
          <a:ext cx="1679" cy="1679"/>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 name="Object 1" hidden="1"/>
                      <p:cNvPicPr/>
                      <p:nvPr/>
                    </p:nvPicPr>
                    <p:blipFill>
                      <a:blip r:embed="rId5"/>
                      <a:stretch>
                        <a:fillRect/>
                      </a:stretch>
                    </p:blipFill>
                    <p:spPr>
                      <a:xfrm>
                        <a:off x="5224" y="1679"/>
                        <a:ext cx="1679" cy="1679"/>
                      </a:xfrm>
                      <a:prstGeom prst="rect">
                        <a:avLst/>
                      </a:prstGeom>
                    </p:spPr>
                  </p:pic>
                </p:oleObj>
              </mc:Fallback>
            </mc:AlternateContent>
          </a:graphicData>
        </a:graphic>
      </p:graphicFrame>
      <p:sp>
        <p:nvSpPr>
          <p:cNvPr id="6" name="Content Placeholder 5"/>
          <p:cNvSpPr>
            <a:spLocks noGrp="1"/>
          </p:cNvSpPr>
          <p:nvPr>
            <p:ph sz="quarter" idx="15"/>
          </p:nvPr>
        </p:nvSpPr>
        <p:spPr>
          <a:xfrm>
            <a:off x="156045" y="2167116"/>
            <a:ext cx="5787552" cy="2523768"/>
          </a:xfrm>
        </p:spPr>
        <p:txBody>
          <a:bodyPr wrap="square">
            <a:spAutoFit/>
          </a:bodyPr>
          <a:lstStyle/>
          <a:p>
            <a:pPr marL="285750" indent="-285750" algn="just">
              <a:buFont typeface="Arial" panose="020B0604020202020204" pitchFamily="34" charset="0"/>
              <a:buChar char="•"/>
            </a:pPr>
            <a:r>
              <a:rPr lang="en-US" b="1" dirty="0">
                <a:solidFill>
                  <a:schemeClr val="tx1">
                    <a:lumMod val="50000"/>
                  </a:schemeClr>
                </a:solidFill>
              </a:rPr>
              <a:t>Impact in managed services: </a:t>
            </a:r>
            <a:r>
              <a:rPr lang="en-US" dirty="0">
                <a:solidFill>
                  <a:schemeClr val="tx1">
                    <a:lumMod val="50000"/>
                  </a:schemeClr>
                </a:solidFill>
              </a:rPr>
              <a:t>Open RAN features and vendor flexibility.</a:t>
            </a:r>
            <a:endParaRPr lang="en-US" b="1" dirty="0">
              <a:solidFill>
                <a:schemeClr val="tx1">
                  <a:lumMod val="50000"/>
                </a:schemeClr>
              </a:solidFill>
            </a:endParaRPr>
          </a:p>
          <a:p>
            <a:pPr marL="285750" indent="-285750" algn="just">
              <a:buFont typeface="Arial" panose="020B0604020202020204" pitchFamily="34" charset="0"/>
              <a:buChar char="•"/>
            </a:pPr>
            <a:r>
              <a:rPr lang="en-US" b="1" dirty="0">
                <a:solidFill>
                  <a:schemeClr val="tx1">
                    <a:lumMod val="50000"/>
                  </a:schemeClr>
                </a:solidFill>
              </a:rPr>
              <a:t>Cost savings</a:t>
            </a:r>
            <a:r>
              <a:rPr lang="en-US" dirty="0">
                <a:solidFill>
                  <a:schemeClr val="tx1">
                    <a:lumMod val="50000"/>
                  </a:schemeClr>
                </a:solidFill>
              </a:rPr>
              <a:t>: virtualized network, with containerized components – true scalability and cost management.</a:t>
            </a:r>
          </a:p>
          <a:p>
            <a:pPr marL="285750" indent="-285750" algn="just">
              <a:buFont typeface="Arial" panose="020B0604020202020204" pitchFamily="34" charset="0"/>
              <a:buChar char="•"/>
            </a:pPr>
            <a:r>
              <a:rPr lang="en-US" b="1" dirty="0">
                <a:solidFill>
                  <a:schemeClr val="tx1">
                    <a:lumMod val="50000"/>
                  </a:schemeClr>
                </a:solidFill>
              </a:rPr>
              <a:t>Vendor choice</a:t>
            </a:r>
            <a:r>
              <a:rPr lang="en-US" dirty="0">
                <a:solidFill>
                  <a:schemeClr val="tx1">
                    <a:lumMod val="50000"/>
                  </a:schemeClr>
                </a:solidFill>
              </a:rPr>
              <a:t>: contractual flexibility to balance features, cost, and adjust future decisions; opening and standardizing interfaces gives a greater choice of vendor solutions.</a:t>
            </a:r>
          </a:p>
          <a:p>
            <a:pPr marL="285750" indent="-285750" algn="just">
              <a:buFont typeface="Arial" panose="020B0604020202020204" pitchFamily="34" charset="0"/>
              <a:buChar char="•"/>
            </a:pPr>
            <a:r>
              <a:rPr lang="en-US" dirty="0">
                <a:solidFill>
                  <a:schemeClr val="tx1">
                    <a:lumMod val="50000"/>
                  </a:schemeClr>
                </a:solidFill>
              </a:rPr>
              <a:t>Deploying O-RAN gives providers a clear path towards fully programmable, intelligent, and multi-vendor RAN with the help of a RAN Intelligent Controller (RIC).</a:t>
            </a:r>
          </a:p>
          <a:p>
            <a:pPr marL="285750" indent="-285750" algn="l">
              <a:buFont typeface="Arial" panose="020B0604020202020204" pitchFamily="34" charset="0"/>
              <a:buChar char="•"/>
            </a:pPr>
            <a:endParaRPr lang="en-US" dirty="0"/>
          </a:p>
        </p:txBody>
      </p:sp>
      <p:sp>
        <p:nvSpPr>
          <p:cNvPr id="7" name="Content Placeholder 6"/>
          <p:cNvSpPr>
            <a:spLocks noGrp="1"/>
          </p:cNvSpPr>
          <p:nvPr>
            <p:ph sz="quarter" idx="16"/>
          </p:nvPr>
        </p:nvSpPr>
        <p:spPr>
          <a:xfrm>
            <a:off x="6096000" y="2143523"/>
            <a:ext cx="5871100" cy="3031599"/>
          </a:xfrm>
        </p:spPr>
        <p:txBody>
          <a:bodyPr wrap="square">
            <a:spAutoFit/>
          </a:bodyPr>
          <a:lstStyle/>
          <a:p>
            <a:pPr marL="285750" indent="-285750" algn="just">
              <a:spcBef>
                <a:spcPts val="0"/>
              </a:spcBef>
              <a:spcAft>
                <a:spcPts val="900"/>
              </a:spcAft>
              <a:buFont typeface="Arial" panose="020B0604020202020204" pitchFamily="34" charset="0"/>
              <a:buChar char="•"/>
            </a:pPr>
            <a:r>
              <a:rPr lang="en-US" b="1" dirty="0">
                <a:solidFill>
                  <a:schemeClr val="tx1">
                    <a:lumMod val="50000"/>
                  </a:schemeClr>
                </a:solidFill>
              </a:rPr>
              <a:t>Performance</a:t>
            </a:r>
            <a:r>
              <a:rPr lang="en-US" dirty="0">
                <a:solidFill>
                  <a:schemeClr val="tx1">
                    <a:lumMod val="50000"/>
                  </a:schemeClr>
                </a:solidFill>
              </a:rPr>
              <a:t>: comparing the performance of very mature solutions from vendors who deployed very early, against the very latest ORAN vendors solution is not very fair! There is still a long way to go to reach good maturity for ORAN solutions</a:t>
            </a:r>
          </a:p>
          <a:p>
            <a:pPr marL="285750" indent="-285750" algn="just">
              <a:spcBef>
                <a:spcPts val="0"/>
              </a:spcBef>
              <a:spcAft>
                <a:spcPts val="900"/>
              </a:spcAft>
              <a:buFont typeface="Arial" panose="020B0604020202020204" pitchFamily="34" charset="0"/>
              <a:buChar char="•"/>
            </a:pPr>
            <a:r>
              <a:rPr lang="en-US" b="1" dirty="0">
                <a:solidFill>
                  <a:schemeClr val="tx1">
                    <a:lumMod val="50000"/>
                  </a:schemeClr>
                </a:solidFill>
              </a:rPr>
              <a:t>Real interoperability</a:t>
            </a:r>
            <a:r>
              <a:rPr lang="en-US" dirty="0">
                <a:solidFill>
                  <a:schemeClr val="tx1">
                    <a:lumMod val="50000"/>
                  </a:schemeClr>
                </a:solidFill>
              </a:rPr>
              <a:t>: Actually, one of the big issues of the ORAN nowadays is the full interoperability between OS, SW, HW and orchestrators vendors. Today, not all vendors are compatible for the time being, and that’s why, before deployment, CSPs still need to do interoperability testing of the solution.</a:t>
            </a:r>
          </a:p>
          <a:p>
            <a:pPr marL="285750" indent="-285750" algn="just">
              <a:spcBef>
                <a:spcPts val="0"/>
              </a:spcBef>
              <a:spcAft>
                <a:spcPts val="900"/>
              </a:spcAft>
              <a:buFont typeface="Arial" panose="020B0604020202020204" pitchFamily="34" charset="0"/>
              <a:buChar char="•"/>
            </a:pPr>
            <a:r>
              <a:rPr lang="en-US" b="1" dirty="0">
                <a:solidFill>
                  <a:schemeClr val="tx1">
                    <a:lumMod val="50000"/>
                  </a:schemeClr>
                </a:solidFill>
              </a:rPr>
              <a:t>Infrastructure readiness: </a:t>
            </a:r>
            <a:r>
              <a:rPr lang="en-US" dirty="0">
                <a:solidFill>
                  <a:schemeClr val="tx1">
                    <a:lumMod val="50000"/>
                  </a:schemeClr>
                </a:solidFill>
              </a:rPr>
              <a:t>In ORAN the fronthaul interface is mostly conveying real time data and signaling. That’s why we need to adopt very strict performance requirements between sites and EDGE clouds or Central clouds according to the selected split options.</a:t>
            </a:r>
          </a:p>
        </p:txBody>
      </p:sp>
      <p:sp>
        <p:nvSpPr>
          <p:cNvPr id="10" name="Title 9"/>
          <p:cNvSpPr>
            <a:spLocks noGrp="1"/>
          </p:cNvSpPr>
          <p:nvPr>
            <p:ph type="title"/>
          </p:nvPr>
        </p:nvSpPr>
        <p:spPr>
          <a:xfrm>
            <a:off x="304747" y="540582"/>
            <a:ext cx="11592000" cy="332399"/>
          </a:xfrm>
        </p:spPr>
        <p:txBody>
          <a:bodyPr/>
          <a:lstStyle/>
          <a:p>
            <a:r>
              <a:rPr kumimoji="0" lang="en-US" sz="2400" b="1" i="0" u="none" strike="noStrike" kern="1200" cap="none" spc="0" normalizeH="0" baseline="0" noProof="0" dirty="0">
                <a:ln>
                  <a:noFill/>
                </a:ln>
                <a:solidFill>
                  <a:srgbClr val="122769"/>
                </a:solidFill>
                <a:effectLst/>
                <a:uLnTx/>
                <a:uFillTx/>
                <a:latin typeface="Arial" panose="020B0604020202020204" pitchFamily="34" charset="0"/>
                <a:ea typeface="+mj-ea"/>
                <a:cs typeface="Arial" panose="020B0604020202020204" pitchFamily="34" charset="0"/>
              </a:rPr>
              <a:t>Benefits</a:t>
            </a:r>
            <a:r>
              <a:rPr kumimoji="0" lang="de-DE" sz="2400" b="1" i="0" u="none" strike="noStrike" kern="1200" cap="none" spc="0" normalizeH="0" baseline="0" noProof="0" dirty="0">
                <a:ln>
                  <a:noFill/>
                </a:ln>
                <a:solidFill>
                  <a:srgbClr val="122769"/>
                </a:solidFill>
                <a:effectLst/>
                <a:uLnTx/>
                <a:uFillTx/>
                <a:latin typeface="Arial" panose="020B0604020202020204" pitchFamily="34" charset="0"/>
                <a:ea typeface="+mj-ea"/>
                <a:cs typeface="Arial" panose="020B0604020202020204" pitchFamily="34" charset="0"/>
              </a:rPr>
              <a:t> vs. Challenges</a:t>
            </a:r>
            <a:endParaRPr lang="en-US" dirty="0"/>
          </a:p>
        </p:txBody>
      </p:sp>
      <p:sp>
        <p:nvSpPr>
          <p:cNvPr id="8" name="Pentagon 7"/>
          <p:cNvSpPr/>
          <p:nvPr/>
        </p:nvSpPr>
        <p:spPr>
          <a:xfrm>
            <a:off x="156045" y="1287377"/>
            <a:ext cx="5787552" cy="441750"/>
          </a:xfrm>
          <a:prstGeom prst="homePlate">
            <a:avLst>
              <a:gd name="adj" fmla="val 31771"/>
            </a:avLst>
          </a:prstGeom>
          <a:solidFill>
            <a:schemeClr val="accent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6727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7030A0"/>
                </a:solidFill>
                <a:effectLst/>
                <a:uLnTx/>
                <a:uFillTx/>
                <a:latin typeface="Arial"/>
                <a:ea typeface="+mn-ea"/>
                <a:cs typeface="+mn-cs"/>
              </a:rPr>
              <a:t>Benefits</a:t>
            </a:r>
          </a:p>
        </p:txBody>
      </p:sp>
      <p:sp>
        <p:nvSpPr>
          <p:cNvPr id="9" name="Chevron 8"/>
          <p:cNvSpPr/>
          <p:nvPr/>
        </p:nvSpPr>
        <p:spPr>
          <a:xfrm>
            <a:off x="6179548" y="1287377"/>
            <a:ext cx="5787552" cy="441750"/>
          </a:xfrm>
          <a:prstGeom prst="chevron">
            <a:avLst>
              <a:gd name="adj" fmla="val 30542"/>
            </a:avLst>
          </a:prstGeom>
          <a:solidFill>
            <a:schemeClr val="accent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6727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7030A0"/>
                </a:solidFill>
                <a:effectLst/>
                <a:uLnTx/>
                <a:uFillTx/>
                <a:latin typeface="Arial"/>
                <a:ea typeface="+mn-ea"/>
                <a:cs typeface="+mn-cs"/>
              </a:rPr>
              <a:t>Challenges</a:t>
            </a:r>
          </a:p>
        </p:txBody>
      </p:sp>
      <p:sp>
        <p:nvSpPr>
          <p:cNvPr id="13" name="Text Placeholder 1">
            <a:extLst>
              <a:ext uri="{FF2B5EF4-FFF2-40B4-BE49-F238E27FC236}">
                <a16:creationId xmlns:a16="http://schemas.microsoft.com/office/drawing/2014/main" id="{CE26F4A2-2D54-4AE8-B23B-4ABD7611CC0B}"/>
              </a:ext>
            </a:extLst>
          </p:cNvPr>
          <p:cNvSpPr>
            <a:spLocks noGrp="1"/>
          </p:cNvSpPr>
          <p:nvPr>
            <p:ph type="body" sz="quarter" idx="14"/>
          </p:nvPr>
        </p:nvSpPr>
        <p:spPr>
          <a:xfrm>
            <a:off x="304747" y="188096"/>
            <a:ext cx="11581528" cy="173574"/>
          </a:xfrm>
        </p:spPr>
        <p:txBody>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en-US" sz="1163" b="1" i="0" u="none" strike="noStrike" kern="1200" cap="none" spc="0" normalizeH="0" baseline="0" noProof="0" dirty="0">
                <a:ln>
                  <a:noFill/>
                </a:ln>
                <a:solidFill>
                  <a:srgbClr val="122769"/>
                </a:solidFill>
                <a:effectLst/>
                <a:uLnTx/>
                <a:uFillTx/>
                <a:latin typeface="Arial"/>
                <a:ea typeface="+mn-ea"/>
                <a:cs typeface="+mn-cs"/>
              </a:rPr>
              <a:t>Case Study</a:t>
            </a:r>
          </a:p>
        </p:txBody>
      </p:sp>
      <p:sp>
        <p:nvSpPr>
          <p:cNvPr id="14" name="Text Placeholder 5">
            <a:extLst>
              <a:ext uri="{FF2B5EF4-FFF2-40B4-BE49-F238E27FC236}">
                <a16:creationId xmlns:a16="http://schemas.microsoft.com/office/drawing/2014/main" id="{805090DB-F909-4E0D-9724-D78D16345494}"/>
              </a:ext>
            </a:extLst>
          </p:cNvPr>
          <p:cNvSpPr>
            <a:spLocks noGrp="1"/>
          </p:cNvSpPr>
          <p:nvPr>
            <p:ph type="body" sz="quarter" idx="21"/>
          </p:nvPr>
        </p:nvSpPr>
        <p:spPr>
          <a:xfrm>
            <a:off x="304747" y="6032862"/>
            <a:ext cx="11581528" cy="138499"/>
          </a:xfrm>
        </p:spPr>
        <p:txBody>
          <a:bodyPr/>
          <a:lstStyle/>
          <a:p>
            <a:endParaRPr lang="en-US"/>
          </a:p>
        </p:txBody>
      </p:sp>
    </p:spTree>
    <p:extLst>
      <p:ext uri="{BB962C8B-B14F-4D97-AF65-F5344CB8AC3E}">
        <p14:creationId xmlns:p14="http://schemas.microsoft.com/office/powerpoint/2010/main" val="1826707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Content Placeholder 1">
            <a:extLst>
              <a:ext uri="{FF2B5EF4-FFF2-40B4-BE49-F238E27FC236}">
                <a16:creationId xmlns:a16="http://schemas.microsoft.com/office/drawing/2014/main" id="{EE708EE0-4E00-6058-16C7-9AA50B16B3E9}"/>
              </a:ext>
            </a:extLst>
          </p:cNvPr>
          <p:cNvSpPr>
            <a:spLocks noGrp="1"/>
          </p:cNvSpPr>
          <p:nvPr>
            <p:ph sz="quarter" idx="13"/>
          </p:nvPr>
        </p:nvSpPr>
        <p:spPr>
          <a:xfrm>
            <a:off x="427193" y="1315051"/>
            <a:ext cx="2775806" cy="1475877"/>
          </a:xfrm>
          <a:ln>
            <a:noFill/>
          </a:ln>
        </p:spPr>
        <p:style>
          <a:lnRef idx="2">
            <a:schemeClr val="dk1"/>
          </a:lnRef>
          <a:fillRef idx="1">
            <a:schemeClr val="lt1"/>
          </a:fillRef>
          <a:effectRef idx="0">
            <a:schemeClr val="dk1"/>
          </a:effectRef>
          <a:fontRef idx="minor">
            <a:schemeClr val="dk1"/>
          </a:fontRef>
        </p:style>
        <p:txBody>
          <a:bodyPr/>
          <a:lstStyle/>
          <a:p>
            <a:pPr marL="285750" indent="-285750">
              <a:buFont typeface="Arial" panose="020B0604020202020204" pitchFamily="34" charset="0"/>
              <a:buChar char="•"/>
            </a:pPr>
            <a:r>
              <a:rPr lang="en-US" sz="1400" b="1" dirty="0"/>
              <a:t>Technical Cost </a:t>
            </a:r>
            <a:r>
              <a:rPr lang="en-US" sz="1400" b="1" dirty="0">
                <a:sym typeface="Wingdings" panose="05000000000000000000" pitchFamily="2" charset="2"/>
              </a:rPr>
              <a:t> </a:t>
            </a:r>
            <a:r>
              <a:rPr lang="en-US" sz="1400" b="1" dirty="0"/>
              <a:t>60%</a:t>
            </a:r>
          </a:p>
          <a:p>
            <a:pPr marL="476100" lvl="1" indent="-285750">
              <a:buFont typeface="Arial" panose="020B0604020202020204" pitchFamily="34" charset="0"/>
              <a:buChar char="•"/>
            </a:pPr>
            <a:r>
              <a:rPr lang="en-US" sz="1400" b="1" dirty="0"/>
              <a:t>Hardware  </a:t>
            </a:r>
          </a:p>
          <a:p>
            <a:pPr marL="476100" lvl="1" indent="-285750">
              <a:buFont typeface="Arial" panose="020B0604020202020204" pitchFamily="34" charset="0"/>
              <a:buChar char="•"/>
            </a:pPr>
            <a:r>
              <a:rPr lang="en-US" sz="1400" b="1" dirty="0"/>
              <a:t>Software</a:t>
            </a:r>
          </a:p>
          <a:p>
            <a:pPr marL="476100" lvl="1" indent="-285750">
              <a:buFont typeface="Arial" panose="020B0604020202020204" pitchFamily="34" charset="0"/>
              <a:buChar char="•"/>
            </a:pPr>
            <a:r>
              <a:rPr lang="en-US" sz="1400" b="1" dirty="0"/>
              <a:t>Operational cost </a:t>
            </a:r>
          </a:p>
          <a:p>
            <a:pPr marL="666450" lvl="2" indent="-285750">
              <a:buFont typeface="Arial" panose="020B0604020202020204" pitchFamily="34" charset="0"/>
              <a:buChar char="•"/>
            </a:pPr>
            <a:endParaRPr lang="en-US" sz="1600" b="1" dirty="0"/>
          </a:p>
        </p:txBody>
      </p:sp>
      <p:sp>
        <p:nvSpPr>
          <p:cNvPr id="4" name="Footer Placeholder 3">
            <a:extLst>
              <a:ext uri="{FF2B5EF4-FFF2-40B4-BE49-F238E27FC236}">
                <a16:creationId xmlns:a16="http://schemas.microsoft.com/office/drawing/2014/main" id="{32A0E7AB-5F95-06E6-EF26-8BD68A425896}"/>
              </a:ext>
            </a:extLst>
          </p:cNvPr>
          <p:cNvSpPr>
            <a:spLocks noGrp="1"/>
          </p:cNvSpPr>
          <p:nvPr>
            <p:ph type="ftr" sz="quarter" idx="3"/>
          </p:nvPr>
        </p:nvSpPr>
        <p:spPr>
          <a:xfrm>
            <a:off x="305725" y="2518"/>
            <a:ext cx="11580552" cy="354853"/>
          </a:xfrm>
        </p:spPr>
        <p:txBody>
          <a:bodyPr anchor="b">
            <a:normAutofit/>
          </a:bodyPr>
          <a:lstStyle/>
          <a:p>
            <a:r>
              <a:rPr lang="en-US" dirty="0"/>
              <a:t>Case Study</a:t>
            </a:r>
          </a:p>
        </p:txBody>
      </p:sp>
      <p:sp>
        <p:nvSpPr>
          <p:cNvPr id="13" name="Text Placeholder 4">
            <a:extLst>
              <a:ext uri="{FF2B5EF4-FFF2-40B4-BE49-F238E27FC236}">
                <a16:creationId xmlns:a16="http://schemas.microsoft.com/office/drawing/2014/main" id="{CC12A705-D966-1E4F-F539-B51612BAFE9C}"/>
              </a:ext>
            </a:extLst>
          </p:cNvPr>
          <p:cNvSpPr>
            <a:spLocks noGrp="1"/>
          </p:cNvSpPr>
          <p:nvPr>
            <p:ph type="body" sz="quarter" idx="10"/>
          </p:nvPr>
        </p:nvSpPr>
        <p:spPr>
          <a:xfrm>
            <a:off x="304746" y="540582"/>
            <a:ext cx="11581530" cy="703041"/>
          </a:xfrm>
        </p:spPr>
        <p:txBody>
          <a:bodyPr/>
          <a:lstStyle/>
          <a:p>
            <a:r>
              <a:rPr lang="en-US" dirty="0"/>
              <a:t>Budget/ cost estimation</a:t>
            </a:r>
          </a:p>
        </p:txBody>
      </p:sp>
      <p:sp>
        <p:nvSpPr>
          <p:cNvPr id="8" name="Content Placeholder 7">
            <a:extLst>
              <a:ext uri="{FF2B5EF4-FFF2-40B4-BE49-F238E27FC236}">
                <a16:creationId xmlns:a16="http://schemas.microsoft.com/office/drawing/2014/main" id="{71D5184A-B1AB-194B-82A6-D0B9688C8E6C}"/>
              </a:ext>
            </a:extLst>
          </p:cNvPr>
          <p:cNvSpPr>
            <a:spLocks noGrp="1"/>
          </p:cNvSpPr>
          <p:nvPr>
            <p:ph sz="quarter" idx="14"/>
          </p:nvPr>
        </p:nvSpPr>
        <p:spPr>
          <a:xfrm>
            <a:off x="3264223" y="1315051"/>
            <a:ext cx="3034553" cy="1475877"/>
          </a:xfrm>
          <a:ln>
            <a:noFill/>
          </a:ln>
        </p:spPr>
        <p:style>
          <a:lnRef idx="2">
            <a:schemeClr val="dk1"/>
          </a:lnRef>
          <a:fillRef idx="1">
            <a:schemeClr val="lt1"/>
          </a:fillRef>
          <a:effectRef idx="0">
            <a:schemeClr val="dk1"/>
          </a:effectRef>
          <a:fontRef idx="minor">
            <a:schemeClr val="dk1"/>
          </a:fontRef>
        </p:style>
        <p:txBody>
          <a:bodyPr/>
          <a:lstStyle/>
          <a:p>
            <a:pPr marL="285750" indent="-285750">
              <a:buFont typeface="Arial" panose="020B0604020202020204" pitchFamily="34" charset="0"/>
              <a:buChar char="•"/>
            </a:pPr>
            <a:r>
              <a:rPr lang="en-US" sz="1400" b="1" dirty="0"/>
              <a:t>Non-Technical Cost </a:t>
            </a:r>
            <a:r>
              <a:rPr lang="en-US" sz="1400" b="1" dirty="0">
                <a:sym typeface="Wingdings" panose="05000000000000000000" pitchFamily="2" charset="2"/>
              </a:rPr>
              <a:t> </a:t>
            </a:r>
            <a:r>
              <a:rPr lang="en-US" sz="1400" b="1" dirty="0"/>
              <a:t>40%</a:t>
            </a:r>
          </a:p>
          <a:p>
            <a:pPr marL="476100" lvl="1" indent="-285750">
              <a:buFont typeface="Arial" panose="020B0604020202020204" pitchFamily="34" charset="0"/>
              <a:buChar char="•"/>
            </a:pPr>
            <a:r>
              <a:rPr lang="en-US" sz="1400" b="1" dirty="0"/>
              <a:t>Management cost  </a:t>
            </a:r>
          </a:p>
          <a:p>
            <a:pPr marL="476100" lvl="1" indent="-285750">
              <a:buFont typeface="Arial" panose="020B0604020202020204" pitchFamily="34" charset="0"/>
              <a:buChar char="•"/>
            </a:pPr>
            <a:r>
              <a:rPr lang="en-US" sz="1400" b="1" dirty="0"/>
              <a:t>Training personnel  </a:t>
            </a:r>
          </a:p>
        </p:txBody>
      </p:sp>
      <p:pic>
        <p:nvPicPr>
          <p:cNvPr id="22" name="Picture Placeholder 6">
            <a:extLst>
              <a:ext uri="{FF2B5EF4-FFF2-40B4-BE49-F238E27FC236}">
                <a16:creationId xmlns:a16="http://schemas.microsoft.com/office/drawing/2014/main" id="{A41B87E1-8027-03C3-699D-E57E230148D2}"/>
              </a:ext>
            </a:extLst>
          </p:cNvPr>
          <p:cNvPicPr>
            <a:picLocks noChangeAspect="1"/>
          </p:cNvPicPr>
          <p:nvPr/>
        </p:nvPicPr>
        <p:blipFill>
          <a:blip r:embed="rId3">
            <a:alphaModFix amt="85000"/>
            <a:extLst>
              <a:ext uri="{28A0092B-C50C-407E-A947-70E740481C1C}">
                <a14:useLocalDpi xmlns:a14="http://schemas.microsoft.com/office/drawing/2010/main" val="0"/>
              </a:ext>
            </a:extLst>
          </a:blip>
          <a:srcRect l="554" r="554"/>
          <a:stretch>
            <a:fillRect/>
          </a:stretch>
        </p:blipFill>
        <p:spPr>
          <a:xfrm>
            <a:off x="6360000" y="0"/>
            <a:ext cx="5832000" cy="6858000"/>
          </a:xfrm>
          <a:prstGeom prst="rect">
            <a:avLst/>
          </a:prstGeom>
        </p:spPr>
      </p:pic>
      <p:grpSp>
        <p:nvGrpSpPr>
          <p:cNvPr id="23" name="Group 22">
            <a:extLst>
              <a:ext uri="{FF2B5EF4-FFF2-40B4-BE49-F238E27FC236}">
                <a16:creationId xmlns:a16="http://schemas.microsoft.com/office/drawing/2014/main" id="{ACF955C3-AB89-D380-D1FE-947A31CCCEE7}"/>
              </a:ext>
            </a:extLst>
          </p:cNvPr>
          <p:cNvGrpSpPr/>
          <p:nvPr/>
        </p:nvGrpSpPr>
        <p:grpSpPr>
          <a:xfrm rot="18401696">
            <a:off x="6602836" y="3648181"/>
            <a:ext cx="590019" cy="792294"/>
            <a:chOff x="5381687" y="2269892"/>
            <a:chExt cx="369888" cy="501651"/>
          </a:xfrm>
          <a:solidFill>
            <a:srgbClr val="317CB3"/>
          </a:solidFill>
        </p:grpSpPr>
        <p:sp>
          <p:nvSpPr>
            <p:cNvPr id="24" name="Freeform 93">
              <a:extLst>
                <a:ext uri="{FF2B5EF4-FFF2-40B4-BE49-F238E27FC236}">
                  <a16:creationId xmlns:a16="http://schemas.microsoft.com/office/drawing/2014/main" id="{2B891764-1364-DCE0-609A-C746D0112A39}"/>
                </a:ext>
              </a:extLst>
            </p:cNvPr>
            <p:cNvSpPr>
              <a:spLocks noEditPoints="1"/>
            </p:cNvSpPr>
            <p:nvPr/>
          </p:nvSpPr>
          <p:spPr bwMode="auto">
            <a:xfrm>
              <a:off x="5381687" y="2269892"/>
              <a:ext cx="369888" cy="501651"/>
            </a:xfrm>
            <a:custGeom>
              <a:avLst/>
              <a:gdLst>
                <a:gd name="T0" fmla="*/ 68 w 98"/>
                <a:gd name="T1" fmla="*/ 42 h 132"/>
                <a:gd name="T2" fmla="*/ 72 w 98"/>
                <a:gd name="T3" fmla="*/ 37 h 132"/>
                <a:gd name="T4" fmla="*/ 72 w 98"/>
                <a:gd name="T5" fmla="*/ 33 h 132"/>
                <a:gd name="T6" fmla="*/ 66 w 98"/>
                <a:gd name="T7" fmla="*/ 27 h 132"/>
                <a:gd name="T8" fmla="*/ 75 w 98"/>
                <a:gd name="T9" fmla="*/ 13 h 132"/>
                <a:gd name="T10" fmla="*/ 75 w 98"/>
                <a:gd name="T11" fmla="*/ 5 h 132"/>
                <a:gd name="T12" fmla="*/ 45 w 98"/>
                <a:gd name="T13" fmla="*/ 7 h 132"/>
                <a:gd name="T14" fmla="*/ 36 w 98"/>
                <a:gd name="T15" fmla="*/ 5 h 132"/>
                <a:gd name="T16" fmla="*/ 26 w 98"/>
                <a:gd name="T17" fmla="*/ 3 h 132"/>
                <a:gd name="T18" fmla="*/ 23 w 98"/>
                <a:gd name="T19" fmla="*/ 5 h 132"/>
                <a:gd name="T20" fmla="*/ 35 w 98"/>
                <a:gd name="T21" fmla="*/ 27 h 132"/>
                <a:gd name="T22" fmla="*/ 32 w 98"/>
                <a:gd name="T23" fmla="*/ 27 h 132"/>
                <a:gd name="T24" fmla="*/ 26 w 98"/>
                <a:gd name="T25" fmla="*/ 33 h 132"/>
                <a:gd name="T26" fmla="*/ 26 w 98"/>
                <a:gd name="T27" fmla="*/ 37 h 132"/>
                <a:gd name="T28" fmla="*/ 29 w 98"/>
                <a:gd name="T29" fmla="*/ 42 h 132"/>
                <a:gd name="T30" fmla="*/ 0 w 98"/>
                <a:gd name="T31" fmla="*/ 104 h 132"/>
                <a:gd name="T32" fmla="*/ 49 w 98"/>
                <a:gd name="T33" fmla="*/ 132 h 132"/>
                <a:gd name="T34" fmla="*/ 98 w 98"/>
                <a:gd name="T35" fmla="*/ 104 h 132"/>
                <a:gd name="T36" fmla="*/ 68 w 98"/>
                <a:gd name="T37" fmla="*/ 42 h 132"/>
                <a:gd name="T38" fmla="*/ 27 w 98"/>
                <a:gd name="T39" fmla="*/ 7 h 132"/>
                <a:gd name="T40" fmla="*/ 27 w 98"/>
                <a:gd name="T41" fmla="*/ 7 h 132"/>
                <a:gd name="T42" fmla="*/ 34 w 98"/>
                <a:gd name="T43" fmla="*/ 9 h 132"/>
                <a:gd name="T44" fmla="*/ 47 w 98"/>
                <a:gd name="T45" fmla="*/ 11 h 132"/>
                <a:gd name="T46" fmla="*/ 72 w 98"/>
                <a:gd name="T47" fmla="*/ 8 h 132"/>
                <a:gd name="T48" fmla="*/ 72 w 98"/>
                <a:gd name="T49" fmla="*/ 10 h 132"/>
                <a:gd name="T50" fmla="*/ 61 w 98"/>
                <a:gd name="T51" fmla="*/ 27 h 132"/>
                <a:gd name="T52" fmla="*/ 40 w 98"/>
                <a:gd name="T53" fmla="*/ 27 h 132"/>
                <a:gd name="T54" fmla="*/ 27 w 98"/>
                <a:gd name="T55" fmla="*/ 7 h 132"/>
                <a:gd name="T56" fmla="*/ 30 w 98"/>
                <a:gd name="T57" fmla="*/ 33 h 132"/>
                <a:gd name="T58" fmla="*/ 32 w 98"/>
                <a:gd name="T59" fmla="*/ 31 h 132"/>
                <a:gd name="T60" fmla="*/ 62 w 98"/>
                <a:gd name="T61" fmla="*/ 31 h 132"/>
                <a:gd name="T62" fmla="*/ 62 w 98"/>
                <a:gd name="T63" fmla="*/ 31 h 132"/>
                <a:gd name="T64" fmla="*/ 62 w 98"/>
                <a:gd name="T65" fmla="*/ 31 h 132"/>
                <a:gd name="T66" fmla="*/ 65 w 98"/>
                <a:gd name="T67" fmla="*/ 31 h 132"/>
                <a:gd name="T68" fmla="*/ 68 w 98"/>
                <a:gd name="T69" fmla="*/ 33 h 132"/>
                <a:gd name="T70" fmla="*/ 68 w 98"/>
                <a:gd name="T71" fmla="*/ 37 h 132"/>
                <a:gd name="T72" fmla="*/ 65 w 98"/>
                <a:gd name="T73" fmla="*/ 39 h 132"/>
                <a:gd name="T74" fmla="*/ 63 w 98"/>
                <a:gd name="T75" fmla="*/ 39 h 132"/>
                <a:gd name="T76" fmla="*/ 34 w 98"/>
                <a:gd name="T77" fmla="*/ 39 h 132"/>
                <a:gd name="T78" fmla="*/ 32 w 98"/>
                <a:gd name="T79" fmla="*/ 39 h 132"/>
                <a:gd name="T80" fmla="*/ 30 w 98"/>
                <a:gd name="T81" fmla="*/ 37 h 132"/>
                <a:gd name="T82" fmla="*/ 30 w 98"/>
                <a:gd name="T83" fmla="*/ 33 h 132"/>
                <a:gd name="T84" fmla="*/ 49 w 98"/>
                <a:gd name="T85" fmla="*/ 128 h 132"/>
                <a:gd name="T86" fmla="*/ 4 w 98"/>
                <a:gd name="T87" fmla="*/ 104 h 132"/>
                <a:gd name="T88" fmla="*/ 35 w 98"/>
                <a:gd name="T89" fmla="*/ 43 h 132"/>
                <a:gd name="T90" fmla="*/ 63 w 98"/>
                <a:gd name="T91" fmla="*/ 43 h 132"/>
                <a:gd name="T92" fmla="*/ 94 w 98"/>
                <a:gd name="T93" fmla="*/ 104 h 132"/>
                <a:gd name="T94" fmla="*/ 49 w 98"/>
                <a:gd name="T95" fmla="*/ 12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8" h="132">
                  <a:moveTo>
                    <a:pt x="68" y="42"/>
                  </a:moveTo>
                  <a:cubicBezTo>
                    <a:pt x="70" y="41"/>
                    <a:pt x="72" y="39"/>
                    <a:pt x="72" y="37"/>
                  </a:cubicBezTo>
                  <a:cubicBezTo>
                    <a:pt x="72" y="33"/>
                    <a:pt x="72" y="33"/>
                    <a:pt x="72" y="33"/>
                  </a:cubicBezTo>
                  <a:cubicBezTo>
                    <a:pt x="72" y="30"/>
                    <a:pt x="69" y="27"/>
                    <a:pt x="66" y="27"/>
                  </a:cubicBezTo>
                  <a:cubicBezTo>
                    <a:pt x="67" y="24"/>
                    <a:pt x="70" y="19"/>
                    <a:pt x="75" y="13"/>
                  </a:cubicBezTo>
                  <a:cubicBezTo>
                    <a:pt x="77" y="9"/>
                    <a:pt x="77" y="7"/>
                    <a:pt x="75" y="5"/>
                  </a:cubicBezTo>
                  <a:cubicBezTo>
                    <a:pt x="71" y="0"/>
                    <a:pt x="51" y="4"/>
                    <a:pt x="45" y="7"/>
                  </a:cubicBezTo>
                  <a:cubicBezTo>
                    <a:pt x="42" y="8"/>
                    <a:pt x="39" y="7"/>
                    <a:pt x="36" y="5"/>
                  </a:cubicBezTo>
                  <a:cubicBezTo>
                    <a:pt x="34" y="4"/>
                    <a:pt x="30" y="2"/>
                    <a:pt x="26" y="3"/>
                  </a:cubicBezTo>
                  <a:cubicBezTo>
                    <a:pt x="25" y="3"/>
                    <a:pt x="24" y="4"/>
                    <a:pt x="23" y="5"/>
                  </a:cubicBezTo>
                  <a:cubicBezTo>
                    <a:pt x="22" y="10"/>
                    <a:pt x="29" y="20"/>
                    <a:pt x="35" y="27"/>
                  </a:cubicBezTo>
                  <a:cubicBezTo>
                    <a:pt x="32" y="27"/>
                    <a:pt x="32" y="27"/>
                    <a:pt x="32" y="27"/>
                  </a:cubicBezTo>
                  <a:cubicBezTo>
                    <a:pt x="29" y="27"/>
                    <a:pt x="26" y="30"/>
                    <a:pt x="26" y="33"/>
                  </a:cubicBezTo>
                  <a:cubicBezTo>
                    <a:pt x="26" y="37"/>
                    <a:pt x="26" y="37"/>
                    <a:pt x="26" y="37"/>
                  </a:cubicBezTo>
                  <a:cubicBezTo>
                    <a:pt x="26" y="39"/>
                    <a:pt x="27" y="41"/>
                    <a:pt x="29" y="42"/>
                  </a:cubicBezTo>
                  <a:cubicBezTo>
                    <a:pt x="12" y="56"/>
                    <a:pt x="0" y="84"/>
                    <a:pt x="0" y="104"/>
                  </a:cubicBezTo>
                  <a:cubicBezTo>
                    <a:pt x="0" y="132"/>
                    <a:pt x="24" y="132"/>
                    <a:pt x="49" y="132"/>
                  </a:cubicBezTo>
                  <a:cubicBezTo>
                    <a:pt x="74" y="132"/>
                    <a:pt x="98" y="132"/>
                    <a:pt x="98" y="104"/>
                  </a:cubicBezTo>
                  <a:cubicBezTo>
                    <a:pt x="98" y="84"/>
                    <a:pt x="86" y="56"/>
                    <a:pt x="68" y="42"/>
                  </a:cubicBezTo>
                  <a:close/>
                  <a:moveTo>
                    <a:pt x="27" y="7"/>
                  </a:moveTo>
                  <a:cubicBezTo>
                    <a:pt x="27" y="7"/>
                    <a:pt x="27" y="7"/>
                    <a:pt x="27" y="7"/>
                  </a:cubicBezTo>
                  <a:cubicBezTo>
                    <a:pt x="30" y="6"/>
                    <a:pt x="32" y="7"/>
                    <a:pt x="34" y="9"/>
                  </a:cubicBezTo>
                  <a:cubicBezTo>
                    <a:pt x="38" y="11"/>
                    <a:pt x="41" y="13"/>
                    <a:pt x="47" y="11"/>
                  </a:cubicBezTo>
                  <a:cubicBezTo>
                    <a:pt x="54" y="7"/>
                    <a:pt x="70" y="5"/>
                    <a:pt x="72" y="8"/>
                  </a:cubicBezTo>
                  <a:cubicBezTo>
                    <a:pt x="73" y="8"/>
                    <a:pt x="72" y="9"/>
                    <a:pt x="72" y="10"/>
                  </a:cubicBezTo>
                  <a:cubicBezTo>
                    <a:pt x="66" y="19"/>
                    <a:pt x="62" y="25"/>
                    <a:pt x="61" y="27"/>
                  </a:cubicBezTo>
                  <a:cubicBezTo>
                    <a:pt x="40" y="27"/>
                    <a:pt x="40" y="27"/>
                    <a:pt x="40" y="27"/>
                  </a:cubicBezTo>
                  <a:cubicBezTo>
                    <a:pt x="32" y="18"/>
                    <a:pt x="27" y="9"/>
                    <a:pt x="27" y="7"/>
                  </a:cubicBezTo>
                  <a:close/>
                  <a:moveTo>
                    <a:pt x="30" y="33"/>
                  </a:moveTo>
                  <a:cubicBezTo>
                    <a:pt x="30" y="32"/>
                    <a:pt x="31" y="31"/>
                    <a:pt x="32" y="31"/>
                  </a:cubicBezTo>
                  <a:cubicBezTo>
                    <a:pt x="62" y="31"/>
                    <a:pt x="62" y="31"/>
                    <a:pt x="62" y="31"/>
                  </a:cubicBezTo>
                  <a:cubicBezTo>
                    <a:pt x="62" y="31"/>
                    <a:pt x="62" y="31"/>
                    <a:pt x="62" y="31"/>
                  </a:cubicBezTo>
                  <a:cubicBezTo>
                    <a:pt x="62" y="31"/>
                    <a:pt x="62" y="31"/>
                    <a:pt x="62" y="31"/>
                  </a:cubicBezTo>
                  <a:cubicBezTo>
                    <a:pt x="65" y="31"/>
                    <a:pt x="65" y="31"/>
                    <a:pt x="65" y="31"/>
                  </a:cubicBezTo>
                  <a:cubicBezTo>
                    <a:pt x="67" y="31"/>
                    <a:pt x="68" y="32"/>
                    <a:pt x="68" y="33"/>
                  </a:cubicBezTo>
                  <a:cubicBezTo>
                    <a:pt x="68" y="37"/>
                    <a:pt x="68" y="37"/>
                    <a:pt x="68" y="37"/>
                  </a:cubicBezTo>
                  <a:cubicBezTo>
                    <a:pt x="68" y="38"/>
                    <a:pt x="67" y="39"/>
                    <a:pt x="65" y="39"/>
                  </a:cubicBezTo>
                  <a:cubicBezTo>
                    <a:pt x="63" y="39"/>
                    <a:pt x="63" y="39"/>
                    <a:pt x="63" y="39"/>
                  </a:cubicBezTo>
                  <a:cubicBezTo>
                    <a:pt x="34" y="39"/>
                    <a:pt x="34" y="39"/>
                    <a:pt x="34" y="39"/>
                  </a:cubicBezTo>
                  <a:cubicBezTo>
                    <a:pt x="32" y="39"/>
                    <a:pt x="32" y="39"/>
                    <a:pt x="32" y="39"/>
                  </a:cubicBezTo>
                  <a:cubicBezTo>
                    <a:pt x="31" y="39"/>
                    <a:pt x="30" y="38"/>
                    <a:pt x="30" y="37"/>
                  </a:cubicBezTo>
                  <a:lnTo>
                    <a:pt x="30" y="33"/>
                  </a:lnTo>
                  <a:close/>
                  <a:moveTo>
                    <a:pt x="49" y="128"/>
                  </a:moveTo>
                  <a:cubicBezTo>
                    <a:pt x="20" y="128"/>
                    <a:pt x="4" y="127"/>
                    <a:pt x="4" y="104"/>
                  </a:cubicBezTo>
                  <a:cubicBezTo>
                    <a:pt x="4" y="84"/>
                    <a:pt x="17" y="54"/>
                    <a:pt x="35" y="43"/>
                  </a:cubicBezTo>
                  <a:cubicBezTo>
                    <a:pt x="63" y="43"/>
                    <a:pt x="63" y="43"/>
                    <a:pt x="63" y="43"/>
                  </a:cubicBezTo>
                  <a:cubicBezTo>
                    <a:pt x="80" y="54"/>
                    <a:pt x="94" y="84"/>
                    <a:pt x="94" y="104"/>
                  </a:cubicBezTo>
                  <a:cubicBezTo>
                    <a:pt x="94" y="127"/>
                    <a:pt x="77" y="128"/>
                    <a:pt x="49" y="128"/>
                  </a:cubicBezTo>
                  <a:close/>
                </a:path>
              </a:pathLst>
            </a:custGeom>
            <a:grpFill/>
            <a:ln w="9525" cmpd="sng">
              <a:solidFill>
                <a:srgbClr val="00B0F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91">
              <a:extLst>
                <a:ext uri="{FF2B5EF4-FFF2-40B4-BE49-F238E27FC236}">
                  <a16:creationId xmlns:a16="http://schemas.microsoft.com/office/drawing/2014/main" id="{28FD9DCF-DE57-D9AA-BDDB-3A1D67E17177}"/>
                </a:ext>
              </a:extLst>
            </p:cNvPr>
            <p:cNvSpPr>
              <a:spLocks/>
            </p:cNvSpPr>
            <p:nvPr/>
          </p:nvSpPr>
          <p:spPr bwMode="auto">
            <a:xfrm>
              <a:off x="5452837" y="2491347"/>
              <a:ext cx="200025" cy="196851"/>
            </a:xfrm>
            <a:custGeom>
              <a:avLst/>
              <a:gdLst>
                <a:gd name="T0" fmla="*/ 50 w 53"/>
                <a:gd name="T1" fmla="*/ 41 h 52"/>
                <a:gd name="T2" fmla="*/ 34 w 53"/>
                <a:gd name="T3" fmla="*/ 48 h 52"/>
                <a:gd name="T4" fmla="*/ 14 w 53"/>
                <a:gd name="T5" fmla="*/ 36 h 52"/>
                <a:gd name="T6" fmla="*/ 33 w 53"/>
                <a:gd name="T7" fmla="*/ 36 h 52"/>
                <a:gd name="T8" fmla="*/ 35 w 53"/>
                <a:gd name="T9" fmla="*/ 34 h 52"/>
                <a:gd name="T10" fmla="*/ 33 w 53"/>
                <a:gd name="T11" fmla="*/ 32 h 52"/>
                <a:gd name="T12" fmla="*/ 13 w 53"/>
                <a:gd name="T13" fmla="*/ 32 h 52"/>
                <a:gd name="T14" fmla="*/ 12 w 53"/>
                <a:gd name="T15" fmla="*/ 26 h 52"/>
                <a:gd name="T16" fmla="*/ 12 w 53"/>
                <a:gd name="T17" fmla="*/ 23 h 52"/>
                <a:gd name="T18" fmla="*/ 33 w 53"/>
                <a:gd name="T19" fmla="*/ 23 h 52"/>
                <a:gd name="T20" fmla="*/ 35 w 53"/>
                <a:gd name="T21" fmla="*/ 21 h 52"/>
                <a:gd name="T22" fmla="*/ 33 w 53"/>
                <a:gd name="T23" fmla="*/ 19 h 52"/>
                <a:gd name="T24" fmla="*/ 13 w 53"/>
                <a:gd name="T25" fmla="*/ 19 h 52"/>
                <a:gd name="T26" fmla="*/ 34 w 53"/>
                <a:gd name="T27" fmla="*/ 4 h 52"/>
                <a:gd name="T28" fmla="*/ 49 w 53"/>
                <a:gd name="T29" fmla="*/ 11 h 52"/>
                <a:gd name="T30" fmla="*/ 52 w 53"/>
                <a:gd name="T31" fmla="*/ 11 h 52"/>
                <a:gd name="T32" fmla="*/ 52 w 53"/>
                <a:gd name="T33" fmla="*/ 8 h 52"/>
                <a:gd name="T34" fmla="*/ 34 w 53"/>
                <a:gd name="T35" fmla="*/ 0 h 52"/>
                <a:gd name="T36" fmla="*/ 9 w 53"/>
                <a:gd name="T37" fmla="*/ 19 h 52"/>
                <a:gd name="T38" fmla="*/ 2 w 53"/>
                <a:gd name="T39" fmla="*/ 19 h 52"/>
                <a:gd name="T40" fmla="*/ 0 w 53"/>
                <a:gd name="T41" fmla="*/ 21 h 52"/>
                <a:gd name="T42" fmla="*/ 2 w 53"/>
                <a:gd name="T43" fmla="*/ 23 h 52"/>
                <a:gd name="T44" fmla="*/ 8 w 53"/>
                <a:gd name="T45" fmla="*/ 23 h 52"/>
                <a:gd name="T46" fmla="*/ 8 w 53"/>
                <a:gd name="T47" fmla="*/ 26 h 52"/>
                <a:gd name="T48" fmla="*/ 9 w 53"/>
                <a:gd name="T49" fmla="*/ 32 h 52"/>
                <a:gd name="T50" fmla="*/ 2 w 53"/>
                <a:gd name="T51" fmla="*/ 32 h 52"/>
                <a:gd name="T52" fmla="*/ 0 w 53"/>
                <a:gd name="T53" fmla="*/ 34 h 52"/>
                <a:gd name="T54" fmla="*/ 2 w 53"/>
                <a:gd name="T55" fmla="*/ 36 h 52"/>
                <a:gd name="T56" fmla="*/ 10 w 53"/>
                <a:gd name="T57" fmla="*/ 36 h 52"/>
                <a:gd name="T58" fmla="*/ 34 w 53"/>
                <a:gd name="T59" fmla="*/ 52 h 52"/>
                <a:gd name="T60" fmla="*/ 53 w 53"/>
                <a:gd name="T61" fmla="*/ 44 h 52"/>
                <a:gd name="T62" fmla="*/ 53 w 53"/>
                <a:gd name="T63" fmla="*/ 41 h 52"/>
                <a:gd name="T64" fmla="*/ 50 w 53"/>
                <a:gd name="T65" fmla="*/ 4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52">
                  <a:moveTo>
                    <a:pt x="50" y="41"/>
                  </a:moveTo>
                  <a:cubicBezTo>
                    <a:pt x="46" y="46"/>
                    <a:pt x="40" y="48"/>
                    <a:pt x="34" y="48"/>
                  </a:cubicBezTo>
                  <a:cubicBezTo>
                    <a:pt x="25" y="48"/>
                    <a:pt x="18" y="43"/>
                    <a:pt x="14" y="36"/>
                  </a:cubicBezTo>
                  <a:cubicBezTo>
                    <a:pt x="33" y="36"/>
                    <a:pt x="33" y="36"/>
                    <a:pt x="33" y="36"/>
                  </a:cubicBezTo>
                  <a:cubicBezTo>
                    <a:pt x="34" y="36"/>
                    <a:pt x="35" y="35"/>
                    <a:pt x="35" y="34"/>
                  </a:cubicBezTo>
                  <a:cubicBezTo>
                    <a:pt x="35" y="33"/>
                    <a:pt x="34" y="32"/>
                    <a:pt x="33" y="32"/>
                  </a:cubicBezTo>
                  <a:cubicBezTo>
                    <a:pt x="13" y="32"/>
                    <a:pt x="13" y="32"/>
                    <a:pt x="13" y="32"/>
                  </a:cubicBezTo>
                  <a:cubicBezTo>
                    <a:pt x="12" y="30"/>
                    <a:pt x="12" y="28"/>
                    <a:pt x="12" y="26"/>
                  </a:cubicBezTo>
                  <a:cubicBezTo>
                    <a:pt x="12" y="25"/>
                    <a:pt x="12" y="24"/>
                    <a:pt x="12" y="23"/>
                  </a:cubicBezTo>
                  <a:cubicBezTo>
                    <a:pt x="33" y="23"/>
                    <a:pt x="33" y="23"/>
                    <a:pt x="33" y="23"/>
                  </a:cubicBezTo>
                  <a:cubicBezTo>
                    <a:pt x="34" y="23"/>
                    <a:pt x="35" y="22"/>
                    <a:pt x="35" y="21"/>
                  </a:cubicBezTo>
                  <a:cubicBezTo>
                    <a:pt x="35" y="20"/>
                    <a:pt x="34" y="19"/>
                    <a:pt x="33" y="19"/>
                  </a:cubicBezTo>
                  <a:cubicBezTo>
                    <a:pt x="13" y="19"/>
                    <a:pt x="13" y="19"/>
                    <a:pt x="13" y="19"/>
                  </a:cubicBezTo>
                  <a:cubicBezTo>
                    <a:pt x="16" y="10"/>
                    <a:pt x="24" y="4"/>
                    <a:pt x="34" y="4"/>
                  </a:cubicBezTo>
                  <a:cubicBezTo>
                    <a:pt x="40" y="4"/>
                    <a:pt x="45" y="7"/>
                    <a:pt x="49" y="11"/>
                  </a:cubicBezTo>
                  <a:cubicBezTo>
                    <a:pt x="50" y="12"/>
                    <a:pt x="51" y="12"/>
                    <a:pt x="52" y="11"/>
                  </a:cubicBezTo>
                  <a:cubicBezTo>
                    <a:pt x="53" y="10"/>
                    <a:pt x="53" y="9"/>
                    <a:pt x="52" y="8"/>
                  </a:cubicBezTo>
                  <a:cubicBezTo>
                    <a:pt x="47" y="3"/>
                    <a:pt x="41" y="0"/>
                    <a:pt x="34" y="0"/>
                  </a:cubicBezTo>
                  <a:cubicBezTo>
                    <a:pt x="22" y="0"/>
                    <a:pt x="12" y="8"/>
                    <a:pt x="9" y="19"/>
                  </a:cubicBezTo>
                  <a:cubicBezTo>
                    <a:pt x="2" y="19"/>
                    <a:pt x="2" y="19"/>
                    <a:pt x="2" y="19"/>
                  </a:cubicBezTo>
                  <a:cubicBezTo>
                    <a:pt x="1" y="19"/>
                    <a:pt x="0" y="20"/>
                    <a:pt x="0" y="21"/>
                  </a:cubicBezTo>
                  <a:cubicBezTo>
                    <a:pt x="0" y="22"/>
                    <a:pt x="1" y="23"/>
                    <a:pt x="2" y="23"/>
                  </a:cubicBezTo>
                  <a:cubicBezTo>
                    <a:pt x="8" y="23"/>
                    <a:pt x="8" y="23"/>
                    <a:pt x="8" y="23"/>
                  </a:cubicBezTo>
                  <a:cubicBezTo>
                    <a:pt x="8" y="24"/>
                    <a:pt x="8" y="25"/>
                    <a:pt x="8" y="26"/>
                  </a:cubicBezTo>
                  <a:cubicBezTo>
                    <a:pt x="8" y="28"/>
                    <a:pt x="8" y="30"/>
                    <a:pt x="9" y="32"/>
                  </a:cubicBezTo>
                  <a:cubicBezTo>
                    <a:pt x="2" y="32"/>
                    <a:pt x="2" y="32"/>
                    <a:pt x="2" y="32"/>
                  </a:cubicBezTo>
                  <a:cubicBezTo>
                    <a:pt x="1" y="32"/>
                    <a:pt x="0" y="33"/>
                    <a:pt x="0" y="34"/>
                  </a:cubicBezTo>
                  <a:cubicBezTo>
                    <a:pt x="0" y="35"/>
                    <a:pt x="1" y="36"/>
                    <a:pt x="2" y="36"/>
                  </a:cubicBezTo>
                  <a:cubicBezTo>
                    <a:pt x="10" y="36"/>
                    <a:pt x="10" y="36"/>
                    <a:pt x="10" y="36"/>
                  </a:cubicBezTo>
                  <a:cubicBezTo>
                    <a:pt x="14" y="45"/>
                    <a:pt x="23" y="52"/>
                    <a:pt x="34" y="52"/>
                  </a:cubicBezTo>
                  <a:cubicBezTo>
                    <a:pt x="41" y="52"/>
                    <a:pt x="48" y="49"/>
                    <a:pt x="53" y="44"/>
                  </a:cubicBezTo>
                  <a:cubicBezTo>
                    <a:pt x="53" y="43"/>
                    <a:pt x="53" y="42"/>
                    <a:pt x="53" y="41"/>
                  </a:cubicBezTo>
                  <a:cubicBezTo>
                    <a:pt x="52" y="41"/>
                    <a:pt x="50" y="41"/>
                    <a:pt x="50" y="41"/>
                  </a:cubicBezTo>
                  <a:close/>
                </a:path>
              </a:pathLst>
            </a:custGeom>
            <a:grpFill/>
            <a:ln w="9525" cmpd="sng">
              <a:solidFill>
                <a:srgbClr val="00B0F0"/>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26" name="Group 25">
            <a:extLst>
              <a:ext uri="{FF2B5EF4-FFF2-40B4-BE49-F238E27FC236}">
                <a16:creationId xmlns:a16="http://schemas.microsoft.com/office/drawing/2014/main" id="{215A7E41-B49A-83D6-2EC7-A15F9809C691}"/>
              </a:ext>
            </a:extLst>
          </p:cNvPr>
          <p:cNvGrpSpPr/>
          <p:nvPr/>
        </p:nvGrpSpPr>
        <p:grpSpPr>
          <a:xfrm>
            <a:off x="6560307" y="5728494"/>
            <a:ext cx="831465" cy="881994"/>
            <a:chOff x="6376996" y="2657482"/>
            <a:chExt cx="468313" cy="473076"/>
          </a:xfrm>
          <a:solidFill>
            <a:srgbClr val="00B0F0"/>
          </a:solidFill>
        </p:grpSpPr>
        <p:sp>
          <p:nvSpPr>
            <p:cNvPr id="27" name="Freeform 89">
              <a:extLst>
                <a:ext uri="{FF2B5EF4-FFF2-40B4-BE49-F238E27FC236}">
                  <a16:creationId xmlns:a16="http://schemas.microsoft.com/office/drawing/2014/main" id="{D99AA396-B8E9-70E1-5846-959C3F45943A}"/>
                </a:ext>
              </a:extLst>
            </p:cNvPr>
            <p:cNvSpPr>
              <a:spLocks noEditPoints="1"/>
            </p:cNvSpPr>
            <p:nvPr/>
          </p:nvSpPr>
          <p:spPr bwMode="auto">
            <a:xfrm>
              <a:off x="6426209" y="2709870"/>
              <a:ext cx="365126" cy="368301"/>
            </a:xfrm>
            <a:custGeom>
              <a:avLst/>
              <a:gdLst>
                <a:gd name="T0" fmla="*/ 49 w 97"/>
                <a:gd name="T1" fmla="*/ 0 h 97"/>
                <a:gd name="T2" fmla="*/ 0 w 97"/>
                <a:gd name="T3" fmla="*/ 48 h 97"/>
                <a:gd name="T4" fmla="*/ 49 w 97"/>
                <a:gd name="T5" fmla="*/ 97 h 97"/>
                <a:gd name="T6" fmla="*/ 97 w 97"/>
                <a:gd name="T7" fmla="*/ 48 h 97"/>
                <a:gd name="T8" fmla="*/ 49 w 97"/>
                <a:gd name="T9" fmla="*/ 0 h 97"/>
                <a:gd name="T10" fmla="*/ 49 w 97"/>
                <a:gd name="T11" fmla="*/ 93 h 97"/>
                <a:gd name="T12" fmla="*/ 4 w 97"/>
                <a:gd name="T13" fmla="*/ 48 h 97"/>
                <a:gd name="T14" fmla="*/ 49 w 97"/>
                <a:gd name="T15" fmla="*/ 4 h 97"/>
                <a:gd name="T16" fmla="*/ 93 w 97"/>
                <a:gd name="T17" fmla="*/ 48 h 97"/>
                <a:gd name="T18" fmla="*/ 49 w 97"/>
                <a:gd name="T19" fmla="*/ 93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 h="97">
                  <a:moveTo>
                    <a:pt x="49" y="0"/>
                  </a:moveTo>
                  <a:cubicBezTo>
                    <a:pt x="22" y="0"/>
                    <a:pt x="0" y="22"/>
                    <a:pt x="0" y="48"/>
                  </a:cubicBezTo>
                  <a:cubicBezTo>
                    <a:pt x="0" y="75"/>
                    <a:pt x="22" y="97"/>
                    <a:pt x="49" y="97"/>
                  </a:cubicBezTo>
                  <a:cubicBezTo>
                    <a:pt x="76" y="97"/>
                    <a:pt x="97" y="75"/>
                    <a:pt x="97" y="48"/>
                  </a:cubicBezTo>
                  <a:cubicBezTo>
                    <a:pt x="97" y="22"/>
                    <a:pt x="76" y="0"/>
                    <a:pt x="49" y="0"/>
                  </a:cubicBezTo>
                  <a:close/>
                  <a:moveTo>
                    <a:pt x="49" y="93"/>
                  </a:moveTo>
                  <a:cubicBezTo>
                    <a:pt x="24" y="93"/>
                    <a:pt x="4" y="73"/>
                    <a:pt x="4" y="48"/>
                  </a:cubicBezTo>
                  <a:cubicBezTo>
                    <a:pt x="4" y="24"/>
                    <a:pt x="24" y="4"/>
                    <a:pt x="49" y="4"/>
                  </a:cubicBezTo>
                  <a:cubicBezTo>
                    <a:pt x="73" y="4"/>
                    <a:pt x="93" y="24"/>
                    <a:pt x="93" y="48"/>
                  </a:cubicBezTo>
                  <a:cubicBezTo>
                    <a:pt x="93" y="73"/>
                    <a:pt x="73" y="93"/>
                    <a:pt x="49" y="93"/>
                  </a:cubicBezTo>
                  <a:close/>
                </a:path>
              </a:pathLst>
            </a:custGeom>
            <a:grpFill/>
            <a:ln w="9525">
              <a:solidFill>
                <a:srgbClr val="00B0F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90">
              <a:extLst>
                <a:ext uri="{FF2B5EF4-FFF2-40B4-BE49-F238E27FC236}">
                  <a16:creationId xmlns:a16="http://schemas.microsoft.com/office/drawing/2014/main" id="{5F58CA82-925E-9806-460B-FE7F88B0F410}"/>
                </a:ext>
              </a:extLst>
            </p:cNvPr>
            <p:cNvSpPr>
              <a:spLocks noEditPoints="1"/>
            </p:cNvSpPr>
            <p:nvPr/>
          </p:nvSpPr>
          <p:spPr bwMode="auto">
            <a:xfrm>
              <a:off x="6376996" y="2657482"/>
              <a:ext cx="468313" cy="473076"/>
            </a:xfrm>
            <a:custGeom>
              <a:avLst/>
              <a:gdLst>
                <a:gd name="T0" fmla="*/ 62 w 124"/>
                <a:gd name="T1" fmla="*/ 0 h 125"/>
                <a:gd name="T2" fmla="*/ 0 w 124"/>
                <a:gd name="T3" fmla="*/ 62 h 125"/>
                <a:gd name="T4" fmla="*/ 62 w 124"/>
                <a:gd name="T5" fmla="*/ 125 h 125"/>
                <a:gd name="T6" fmla="*/ 124 w 124"/>
                <a:gd name="T7" fmla="*/ 62 h 125"/>
                <a:gd name="T8" fmla="*/ 62 w 124"/>
                <a:gd name="T9" fmla="*/ 0 h 125"/>
                <a:gd name="T10" fmla="*/ 62 w 124"/>
                <a:gd name="T11" fmla="*/ 121 h 125"/>
                <a:gd name="T12" fmla="*/ 3 w 124"/>
                <a:gd name="T13" fmla="*/ 62 h 125"/>
                <a:gd name="T14" fmla="*/ 62 w 124"/>
                <a:gd name="T15" fmla="*/ 4 h 125"/>
                <a:gd name="T16" fmla="*/ 120 w 124"/>
                <a:gd name="T17" fmla="*/ 62 h 125"/>
                <a:gd name="T18" fmla="*/ 62 w 124"/>
                <a:gd name="T19" fmla="*/ 121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4" h="125">
                  <a:moveTo>
                    <a:pt x="62" y="0"/>
                  </a:moveTo>
                  <a:cubicBezTo>
                    <a:pt x="27" y="0"/>
                    <a:pt x="0" y="28"/>
                    <a:pt x="0" y="62"/>
                  </a:cubicBezTo>
                  <a:cubicBezTo>
                    <a:pt x="0" y="97"/>
                    <a:pt x="27" y="125"/>
                    <a:pt x="62" y="125"/>
                  </a:cubicBezTo>
                  <a:cubicBezTo>
                    <a:pt x="96" y="125"/>
                    <a:pt x="124" y="97"/>
                    <a:pt x="124" y="62"/>
                  </a:cubicBezTo>
                  <a:cubicBezTo>
                    <a:pt x="124" y="28"/>
                    <a:pt x="96" y="0"/>
                    <a:pt x="62" y="0"/>
                  </a:cubicBezTo>
                  <a:close/>
                  <a:moveTo>
                    <a:pt x="62" y="121"/>
                  </a:moveTo>
                  <a:cubicBezTo>
                    <a:pt x="30" y="121"/>
                    <a:pt x="3" y="95"/>
                    <a:pt x="3" y="62"/>
                  </a:cubicBezTo>
                  <a:cubicBezTo>
                    <a:pt x="3" y="30"/>
                    <a:pt x="30" y="4"/>
                    <a:pt x="62" y="4"/>
                  </a:cubicBezTo>
                  <a:cubicBezTo>
                    <a:pt x="94" y="4"/>
                    <a:pt x="120" y="30"/>
                    <a:pt x="120" y="62"/>
                  </a:cubicBezTo>
                  <a:cubicBezTo>
                    <a:pt x="120" y="95"/>
                    <a:pt x="94" y="121"/>
                    <a:pt x="62" y="121"/>
                  </a:cubicBezTo>
                  <a:close/>
                </a:path>
              </a:pathLst>
            </a:custGeom>
            <a:grpFill/>
            <a:ln w="9525">
              <a:solidFill>
                <a:srgbClr val="00B0F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91">
              <a:extLst>
                <a:ext uri="{FF2B5EF4-FFF2-40B4-BE49-F238E27FC236}">
                  <a16:creationId xmlns:a16="http://schemas.microsoft.com/office/drawing/2014/main" id="{1E552527-7D38-3052-D4B6-815F7D5445D9}"/>
                </a:ext>
              </a:extLst>
            </p:cNvPr>
            <p:cNvSpPr>
              <a:spLocks/>
            </p:cNvSpPr>
            <p:nvPr/>
          </p:nvSpPr>
          <p:spPr bwMode="auto">
            <a:xfrm>
              <a:off x="6497647" y="2794007"/>
              <a:ext cx="200025" cy="196851"/>
            </a:xfrm>
            <a:custGeom>
              <a:avLst/>
              <a:gdLst>
                <a:gd name="T0" fmla="*/ 50 w 53"/>
                <a:gd name="T1" fmla="*/ 41 h 52"/>
                <a:gd name="T2" fmla="*/ 34 w 53"/>
                <a:gd name="T3" fmla="*/ 48 h 52"/>
                <a:gd name="T4" fmla="*/ 14 w 53"/>
                <a:gd name="T5" fmla="*/ 36 h 52"/>
                <a:gd name="T6" fmla="*/ 33 w 53"/>
                <a:gd name="T7" fmla="*/ 36 h 52"/>
                <a:gd name="T8" fmla="*/ 35 w 53"/>
                <a:gd name="T9" fmla="*/ 34 h 52"/>
                <a:gd name="T10" fmla="*/ 33 w 53"/>
                <a:gd name="T11" fmla="*/ 32 h 52"/>
                <a:gd name="T12" fmla="*/ 13 w 53"/>
                <a:gd name="T13" fmla="*/ 32 h 52"/>
                <a:gd name="T14" fmla="*/ 12 w 53"/>
                <a:gd name="T15" fmla="*/ 26 h 52"/>
                <a:gd name="T16" fmla="*/ 12 w 53"/>
                <a:gd name="T17" fmla="*/ 23 h 52"/>
                <a:gd name="T18" fmla="*/ 33 w 53"/>
                <a:gd name="T19" fmla="*/ 23 h 52"/>
                <a:gd name="T20" fmla="*/ 35 w 53"/>
                <a:gd name="T21" fmla="*/ 21 h 52"/>
                <a:gd name="T22" fmla="*/ 33 w 53"/>
                <a:gd name="T23" fmla="*/ 19 h 52"/>
                <a:gd name="T24" fmla="*/ 13 w 53"/>
                <a:gd name="T25" fmla="*/ 19 h 52"/>
                <a:gd name="T26" fmla="*/ 34 w 53"/>
                <a:gd name="T27" fmla="*/ 4 h 52"/>
                <a:gd name="T28" fmla="*/ 49 w 53"/>
                <a:gd name="T29" fmla="*/ 11 h 52"/>
                <a:gd name="T30" fmla="*/ 52 w 53"/>
                <a:gd name="T31" fmla="*/ 11 h 52"/>
                <a:gd name="T32" fmla="*/ 52 w 53"/>
                <a:gd name="T33" fmla="*/ 8 h 52"/>
                <a:gd name="T34" fmla="*/ 34 w 53"/>
                <a:gd name="T35" fmla="*/ 0 h 52"/>
                <a:gd name="T36" fmla="*/ 9 w 53"/>
                <a:gd name="T37" fmla="*/ 19 h 52"/>
                <a:gd name="T38" fmla="*/ 2 w 53"/>
                <a:gd name="T39" fmla="*/ 19 h 52"/>
                <a:gd name="T40" fmla="*/ 0 w 53"/>
                <a:gd name="T41" fmla="*/ 21 h 52"/>
                <a:gd name="T42" fmla="*/ 2 w 53"/>
                <a:gd name="T43" fmla="*/ 23 h 52"/>
                <a:gd name="T44" fmla="*/ 8 w 53"/>
                <a:gd name="T45" fmla="*/ 23 h 52"/>
                <a:gd name="T46" fmla="*/ 8 w 53"/>
                <a:gd name="T47" fmla="*/ 26 h 52"/>
                <a:gd name="T48" fmla="*/ 9 w 53"/>
                <a:gd name="T49" fmla="*/ 32 h 52"/>
                <a:gd name="T50" fmla="*/ 2 w 53"/>
                <a:gd name="T51" fmla="*/ 32 h 52"/>
                <a:gd name="T52" fmla="*/ 0 w 53"/>
                <a:gd name="T53" fmla="*/ 34 h 52"/>
                <a:gd name="T54" fmla="*/ 2 w 53"/>
                <a:gd name="T55" fmla="*/ 36 h 52"/>
                <a:gd name="T56" fmla="*/ 10 w 53"/>
                <a:gd name="T57" fmla="*/ 36 h 52"/>
                <a:gd name="T58" fmla="*/ 34 w 53"/>
                <a:gd name="T59" fmla="*/ 52 h 52"/>
                <a:gd name="T60" fmla="*/ 53 w 53"/>
                <a:gd name="T61" fmla="*/ 44 h 52"/>
                <a:gd name="T62" fmla="*/ 53 w 53"/>
                <a:gd name="T63" fmla="*/ 41 h 52"/>
                <a:gd name="T64" fmla="*/ 50 w 53"/>
                <a:gd name="T65" fmla="*/ 4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52">
                  <a:moveTo>
                    <a:pt x="50" y="41"/>
                  </a:moveTo>
                  <a:cubicBezTo>
                    <a:pt x="46" y="46"/>
                    <a:pt x="40" y="48"/>
                    <a:pt x="34" y="48"/>
                  </a:cubicBezTo>
                  <a:cubicBezTo>
                    <a:pt x="25" y="48"/>
                    <a:pt x="18" y="43"/>
                    <a:pt x="14" y="36"/>
                  </a:cubicBezTo>
                  <a:cubicBezTo>
                    <a:pt x="33" y="36"/>
                    <a:pt x="33" y="36"/>
                    <a:pt x="33" y="36"/>
                  </a:cubicBezTo>
                  <a:cubicBezTo>
                    <a:pt x="34" y="36"/>
                    <a:pt x="35" y="35"/>
                    <a:pt x="35" y="34"/>
                  </a:cubicBezTo>
                  <a:cubicBezTo>
                    <a:pt x="35" y="33"/>
                    <a:pt x="34" y="32"/>
                    <a:pt x="33" y="32"/>
                  </a:cubicBezTo>
                  <a:cubicBezTo>
                    <a:pt x="13" y="32"/>
                    <a:pt x="13" y="32"/>
                    <a:pt x="13" y="32"/>
                  </a:cubicBezTo>
                  <a:cubicBezTo>
                    <a:pt x="12" y="30"/>
                    <a:pt x="12" y="28"/>
                    <a:pt x="12" y="26"/>
                  </a:cubicBezTo>
                  <a:cubicBezTo>
                    <a:pt x="12" y="25"/>
                    <a:pt x="12" y="24"/>
                    <a:pt x="12" y="23"/>
                  </a:cubicBezTo>
                  <a:cubicBezTo>
                    <a:pt x="33" y="23"/>
                    <a:pt x="33" y="23"/>
                    <a:pt x="33" y="23"/>
                  </a:cubicBezTo>
                  <a:cubicBezTo>
                    <a:pt x="34" y="23"/>
                    <a:pt x="35" y="22"/>
                    <a:pt x="35" y="21"/>
                  </a:cubicBezTo>
                  <a:cubicBezTo>
                    <a:pt x="35" y="20"/>
                    <a:pt x="34" y="19"/>
                    <a:pt x="33" y="19"/>
                  </a:cubicBezTo>
                  <a:cubicBezTo>
                    <a:pt x="13" y="19"/>
                    <a:pt x="13" y="19"/>
                    <a:pt x="13" y="19"/>
                  </a:cubicBezTo>
                  <a:cubicBezTo>
                    <a:pt x="16" y="10"/>
                    <a:pt x="24" y="4"/>
                    <a:pt x="34" y="4"/>
                  </a:cubicBezTo>
                  <a:cubicBezTo>
                    <a:pt x="40" y="4"/>
                    <a:pt x="45" y="7"/>
                    <a:pt x="49" y="11"/>
                  </a:cubicBezTo>
                  <a:cubicBezTo>
                    <a:pt x="50" y="12"/>
                    <a:pt x="51" y="12"/>
                    <a:pt x="52" y="11"/>
                  </a:cubicBezTo>
                  <a:cubicBezTo>
                    <a:pt x="53" y="10"/>
                    <a:pt x="53" y="9"/>
                    <a:pt x="52" y="8"/>
                  </a:cubicBezTo>
                  <a:cubicBezTo>
                    <a:pt x="47" y="3"/>
                    <a:pt x="41" y="0"/>
                    <a:pt x="34" y="0"/>
                  </a:cubicBezTo>
                  <a:cubicBezTo>
                    <a:pt x="22" y="0"/>
                    <a:pt x="12" y="8"/>
                    <a:pt x="9" y="19"/>
                  </a:cubicBezTo>
                  <a:cubicBezTo>
                    <a:pt x="2" y="19"/>
                    <a:pt x="2" y="19"/>
                    <a:pt x="2" y="19"/>
                  </a:cubicBezTo>
                  <a:cubicBezTo>
                    <a:pt x="1" y="19"/>
                    <a:pt x="0" y="20"/>
                    <a:pt x="0" y="21"/>
                  </a:cubicBezTo>
                  <a:cubicBezTo>
                    <a:pt x="0" y="22"/>
                    <a:pt x="1" y="23"/>
                    <a:pt x="2" y="23"/>
                  </a:cubicBezTo>
                  <a:cubicBezTo>
                    <a:pt x="8" y="23"/>
                    <a:pt x="8" y="23"/>
                    <a:pt x="8" y="23"/>
                  </a:cubicBezTo>
                  <a:cubicBezTo>
                    <a:pt x="8" y="24"/>
                    <a:pt x="8" y="25"/>
                    <a:pt x="8" y="26"/>
                  </a:cubicBezTo>
                  <a:cubicBezTo>
                    <a:pt x="8" y="28"/>
                    <a:pt x="8" y="30"/>
                    <a:pt x="9" y="32"/>
                  </a:cubicBezTo>
                  <a:cubicBezTo>
                    <a:pt x="2" y="32"/>
                    <a:pt x="2" y="32"/>
                    <a:pt x="2" y="32"/>
                  </a:cubicBezTo>
                  <a:cubicBezTo>
                    <a:pt x="1" y="32"/>
                    <a:pt x="0" y="33"/>
                    <a:pt x="0" y="34"/>
                  </a:cubicBezTo>
                  <a:cubicBezTo>
                    <a:pt x="0" y="35"/>
                    <a:pt x="1" y="36"/>
                    <a:pt x="2" y="36"/>
                  </a:cubicBezTo>
                  <a:cubicBezTo>
                    <a:pt x="10" y="36"/>
                    <a:pt x="10" y="36"/>
                    <a:pt x="10" y="36"/>
                  </a:cubicBezTo>
                  <a:cubicBezTo>
                    <a:pt x="14" y="45"/>
                    <a:pt x="23" y="52"/>
                    <a:pt x="34" y="52"/>
                  </a:cubicBezTo>
                  <a:cubicBezTo>
                    <a:pt x="41" y="52"/>
                    <a:pt x="48" y="49"/>
                    <a:pt x="53" y="44"/>
                  </a:cubicBezTo>
                  <a:cubicBezTo>
                    <a:pt x="53" y="43"/>
                    <a:pt x="53" y="42"/>
                    <a:pt x="53" y="41"/>
                  </a:cubicBezTo>
                  <a:cubicBezTo>
                    <a:pt x="52" y="41"/>
                    <a:pt x="50" y="41"/>
                    <a:pt x="50" y="41"/>
                  </a:cubicBezTo>
                  <a:close/>
                </a:path>
              </a:pathLst>
            </a:custGeom>
            <a:grpFill/>
            <a:ln w="9525">
              <a:solidFill>
                <a:srgbClr val="00B0F0"/>
              </a:solidFill>
              <a:round/>
              <a:headEnd/>
              <a:tailEnd/>
            </a:ln>
          </p:spPr>
          <p:txBody>
            <a:bodyPr vert="horz" wrap="square" lIns="91440" tIns="45720" rIns="91440" bIns="45720" numCol="1" anchor="t" anchorCtr="0" compatLnSpc="1">
              <a:prstTxWarp prst="textNoShape">
                <a:avLst/>
              </a:prstTxWarp>
            </a:bodyPr>
            <a:lstStyle/>
            <a:p>
              <a:endParaRPr lang="en-US"/>
            </a:p>
          </p:txBody>
        </p:sp>
      </p:grpSp>
      <p:graphicFrame>
        <p:nvGraphicFramePr>
          <p:cNvPr id="32" name="Chart 31">
            <a:extLst>
              <a:ext uri="{FF2B5EF4-FFF2-40B4-BE49-F238E27FC236}">
                <a16:creationId xmlns:a16="http://schemas.microsoft.com/office/drawing/2014/main" id="{E75A1F5D-59F7-E26B-89EF-2975FA96F83C}"/>
              </a:ext>
            </a:extLst>
          </p:cNvPr>
          <p:cNvGraphicFramePr/>
          <p:nvPr>
            <p:extLst>
              <p:ext uri="{D42A27DB-BD31-4B8C-83A1-F6EECF244321}">
                <p14:modId xmlns:p14="http://schemas.microsoft.com/office/powerpoint/2010/main" val="3092420629"/>
              </p:ext>
            </p:extLst>
          </p:nvPr>
        </p:nvGraphicFramePr>
        <p:xfrm>
          <a:off x="340162" y="3027320"/>
          <a:ext cx="5680418" cy="3139211"/>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7487150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2" name="Rectangle: Rounded Corners 51">
            <a:extLst>
              <a:ext uri="{FF2B5EF4-FFF2-40B4-BE49-F238E27FC236}">
                <a16:creationId xmlns:a16="http://schemas.microsoft.com/office/drawing/2014/main" id="{FC99DA1E-D163-CEBA-3DBB-9EBA9C027A9D}"/>
              </a:ext>
            </a:extLst>
          </p:cNvPr>
          <p:cNvSpPr/>
          <p:nvPr/>
        </p:nvSpPr>
        <p:spPr>
          <a:xfrm>
            <a:off x="6171542" y="1486880"/>
            <a:ext cx="5814463" cy="3531887"/>
          </a:xfrm>
          <a:prstGeom prst="roundRect">
            <a:avLst/>
          </a:prstGeom>
          <a:solidFill>
            <a:schemeClr val="accent1">
              <a:lumMod val="20000"/>
              <a:lumOff val="80000"/>
            </a:schemeClr>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7" name="Object 26" hidden="1"/>
          <p:cNvGraphicFramePr>
            <a:graphicFrameLocks noChangeAspect="1"/>
          </p:cNvGraphicFramePr>
          <p:nvPr>
            <p:custDataLst>
              <p:tags r:id="rId1"/>
            </p:custDataLst>
          </p:nvPr>
        </p:nvGraphicFramePr>
        <p:xfrm>
          <a:off x="5224" y="1679"/>
          <a:ext cx="1679" cy="1679"/>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7" name="Object 26" hidden="1"/>
                      <p:cNvPicPr/>
                      <p:nvPr/>
                    </p:nvPicPr>
                    <p:blipFill>
                      <a:blip r:embed="rId5"/>
                      <a:stretch>
                        <a:fillRect/>
                      </a:stretch>
                    </p:blipFill>
                    <p:spPr>
                      <a:xfrm>
                        <a:off x="5224" y="1679"/>
                        <a:ext cx="1679" cy="1679"/>
                      </a:xfrm>
                      <a:prstGeom prst="rect">
                        <a:avLst/>
                      </a:prstGeom>
                    </p:spPr>
                  </p:pic>
                </p:oleObj>
              </mc:Fallback>
            </mc:AlternateContent>
          </a:graphicData>
        </a:graphic>
      </p:graphicFrame>
      <p:sp>
        <p:nvSpPr>
          <p:cNvPr id="28" name="Title 27"/>
          <p:cNvSpPr>
            <a:spLocks noGrp="1"/>
          </p:cNvSpPr>
          <p:nvPr>
            <p:ph type="title"/>
          </p:nvPr>
        </p:nvSpPr>
        <p:spPr>
          <a:xfrm>
            <a:off x="304747" y="540582"/>
            <a:ext cx="11592000" cy="332399"/>
          </a:xfrm>
        </p:spPr>
        <p:txBody>
          <a:bodyPr/>
          <a:lstStyle/>
          <a:p>
            <a:r>
              <a:rPr lang="en-US" dirty="0"/>
              <a:t>Project plan</a:t>
            </a:r>
          </a:p>
        </p:txBody>
      </p:sp>
      <p:sp>
        <p:nvSpPr>
          <p:cNvPr id="2" name="Text Placeholder 1">
            <a:extLst>
              <a:ext uri="{FF2B5EF4-FFF2-40B4-BE49-F238E27FC236}">
                <a16:creationId xmlns:a16="http://schemas.microsoft.com/office/drawing/2014/main" id="{CB09FBA5-D8D0-4FA3-B56A-B9F01290D80F}"/>
              </a:ext>
            </a:extLst>
          </p:cNvPr>
          <p:cNvSpPr>
            <a:spLocks noGrp="1"/>
          </p:cNvSpPr>
          <p:nvPr>
            <p:ph type="body" sz="quarter" idx="14"/>
          </p:nvPr>
        </p:nvSpPr>
        <p:spPr>
          <a:xfrm>
            <a:off x="304747" y="188096"/>
            <a:ext cx="11592000" cy="190596"/>
          </a:xfrm>
        </p:spPr>
        <p:txBody>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en-US" sz="1163" b="1" i="0" u="none" strike="noStrike" kern="1200" cap="none" spc="0" normalizeH="0" baseline="0" noProof="0" dirty="0">
                <a:ln>
                  <a:noFill/>
                </a:ln>
                <a:solidFill>
                  <a:srgbClr val="122769"/>
                </a:solidFill>
                <a:effectLst/>
                <a:uLnTx/>
                <a:uFillTx/>
                <a:latin typeface="Arial"/>
                <a:ea typeface="+mn-ea"/>
                <a:cs typeface="+mn-cs"/>
              </a:rPr>
              <a:t>Case Study</a:t>
            </a:r>
          </a:p>
          <a:p>
            <a:endParaRPr lang="en-US" dirty="0"/>
          </a:p>
        </p:txBody>
      </p:sp>
      <p:sp>
        <p:nvSpPr>
          <p:cNvPr id="3" name="Text Placeholder 2">
            <a:extLst>
              <a:ext uri="{FF2B5EF4-FFF2-40B4-BE49-F238E27FC236}">
                <a16:creationId xmlns:a16="http://schemas.microsoft.com/office/drawing/2014/main" id="{ADEB02ED-9291-4976-98BA-7667E510777F}"/>
              </a:ext>
            </a:extLst>
          </p:cNvPr>
          <p:cNvSpPr>
            <a:spLocks noGrp="1"/>
          </p:cNvSpPr>
          <p:nvPr>
            <p:ph type="body" sz="quarter" idx="21"/>
          </p:nvPr>
        </p:nvSpPr>
        <p:spPr/>
        <p:txBody>
          <a:bodyPr/>
          <a:lstStyle/>
          <a:p>
            <a:endParaRPr lang="en-US" dirty="0"/>
          </a:p>
        </p:txBody>
      </p:sp>
      <p:grpSp>
        <p:nvGrpSpPr>
          <p:cNvPr id="48" name="Group 47">
            <a:extLst>
              <a:ext uri="{FF2B5EF4-FFF2-40B4-BE49-F238E27FC236}">
                <a16:creationId xmlns:a16="http://schemas.microsoft.com/office/drawing/2014/main" id="{65A90BA4-5FDF-8AF8-9F20-788D2F249234}"/>
              </a:ext>
            </a:extLst>
          </p:cNvPr>
          <p:cNvGrpSpPr/>
          <p:nvPr/>
        </p:nvGrpSpPr>
        <p:grpSpPr>
          <a:xfrm>
            <a:off x="6508040" y="1658981"/>
            <a:ext cx="5388707" cy="3109860"/>
            <a:chOff x="304747" y="2027625"/>
            <a:chExt cx="5388707" cy="3109860"/>
          </a:xfrm>
        </p:grpSpPr>
        <p:sp>
          <p:nvSpPr>
            <p:cNvPr id="5" name="Rectangle 4"/>
            <p:cNvSpPr/>
            <p:nvPr/>
          </p:nvSpPr>
          <p:spPr>
            <a:xfrm>
              <a:off x="304747" y="2027625"/>
              <a:ext cx="2295661" cy="861774"/>
            </a:xfrm>
            <a:prstGeom prst="rect">
              <a:avLst/>
            </a:prstGeom>
          </p:spPr>
          <p:txBody>
            <a:bodyPr wrap="square" lIns="0" tIns="0" rIns="0" bIns="0" anchor="b">
              <a:spAutoFit/>
            </a:bodyPr>
            <a:lstStyle/>
            <a:p>
              <a:r>
                <a:rPr lang="en-US" sz="1400" b="1" dirty="0"/>
                <a:t>Phase 1</a:t>
              </a:r>
              <a:endParaRPr lang="en-US" sz="1400" dirty="0"/>
            </a:p>
            <a:p>
              <a:r>
                <a:rPr lang="en-US" sz="1400" dirty="0"/>
                <a:t>Study and analysis of current scenario and identify, gather require equipment</a:t>
              </a:r>
            </a:p>
          </p:txBody>
        </p:sp>
        <p:sp>
          <p:nvSpPr>
            <p:cNvPr id="6" name="Rectangle 5"/>
            <p:cNvSpPr/>
            <p:nvPr/>
          </p:nvSpPr>
          <p:spPr>
            <a:xfrm>
              <a:off x="3397793" y="2243068"/>
              <a:ext cx="2295661" cy="646331"/>
            </a:xfrm>
            <a:prstGeom prst="rect">
              <a:avLst/>
            </a:prstGeom>
          </p:spPr>
          <p:txBody>
            <a:bodyPr wrap="square" lIns="0" tIns="0" rIns="0" bIns="0" anchor="b">
              <a:spAutoFit/>
            </a:bodyPr>
            <a:lstStyle/>
            <a:p>
              <a:r>
                <a:rPr lang="en-US" sz="1400" b="1" dirty="0"/>
                <a:t>Phase 3</a:t>
              </a:r>
              <a:endParaRPr lang="en-US" sz="1400" dirty="0"/>
            </a:p>
            <a:p>
              <a:r>
                <a:rPr lang="en-US" sz="1400" dirty="0"/>
                <a:t>Deployment /rollout in small area and expend slowly. </a:t>
              </a:r>
            </a:p>
          </p:txBody>
        </p:sp>
        <p:sp>
          <p:nvSpPr>
            <p:cNvPr id="9" name="Rectangle 8"/>
            <p:cNvSpPr/>
            <p:nvPr/>
          </p:nvSpPr>
          <p:spPr>
            <a:xfrm>
              <a:off x="1851270" y="4706598"/>
              <a:ext cx="2384080" cy="430887"/>
            </a:xfrm>
            <a:prstGeom prst="rect">
              <a:avLst/>
            </a:prstGeom>
          </p:spPr>
          <p:txBody>
            <a:bodyPr wrap="square" lIns="0" tIns="0" rIns="0" bIns="0">
              <a:spAutoFit/>
            </a:bodyPr>
            <a:lstStyle/>
            <a:p>
              <a:r>
                <a:rPr lang="en-US" sz="1400" b="1" dirty="0"/>
                <a:t>Phase 2</a:t>
              </a:r>
              <a:endParaRPr lang="en-US" sz="1400" dirty="0"/>
            </a:p>
            <a:p>
              <a:r>
                <a:rPr lang="en-US" sz="1400" dirty="0"/>
                <a:t>Indoor test/small testbed trial</a:t>
              </a:r>
              <a:endParaRPr lang="en-US" sz="1200" dirty="0"/>
            </a:p>
          </p:txBody>
        </p:sp>
        <p:cxnSp>
          <p:nvCxnSpPr>
            <p:cNvPr id="12" name="18 Conector recto"/>
            <p:cNvCxnSpPr>
              <a:cxnSpLocks/>
            </p:cNvCxnSpPr>
            <p:nvPr/>
          </p:nvCxnSpPr>
          <p:spPr>
            <a:xfrm>
              <a:off x="304748" y="3820624"/>
              <a:ext cx="5320327" cy="0"/>
            </a:xfrm>
            <a:prstGeom prst="line">
              <a:avLst/>
            </a:prstGeom>
            <a:ln w="63500" cap="rnd">
              <a:solidFill>
                <a:schemeClr val="accent5"/>
              </a:solidFill>
              <a:tailEnd type="arrow"/>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735779" y="3875324"/>
              <a:ext cx="1433598" cy="400110"/>
            </a:xfrm>
            <a:prstGeom prst="rect">
              <a:avLst/>
            </a:prstGeom>
            <a:noFill/>
          </p:spPr>
          <p:txBody>
            <a:bodyPr wrap="none" rtlCol="0">
              <a:spAutoFit/>
            </a:bodyPr>
            <a:lstStyle/>
            <a:p>
              <a:pPr algn="ctr"/>
              <a:r>
                <a:rPr lang="en-US" sz="2000" b="1" dirty="0">
                  <a:solidFill>
                    <a:schemeClr val="accent5"/>
                  </a:solidFill>
                </a:rPr>
                <a:t>5-6 Weeks</a:t>
              </a:r>
            </a:p>
          </p:txBody>
        </p:sp>
        <p:sp>
          <p:nvSpPr>
            <p:cNvPr id="14" name="TextBox 13"/>
            <p:cNvSpPr txBox="1"/>
            <p:nvPr/>
          </p:nvSpPr>
          <p:spPr>
            <a:xfrm>
              <a:off x="3705491" y="3875324"/>
              <a:ext cx="1680268" cy="400110"/>
            </a:xfrm>
            <a:prstGeom prst="rect">
              <a:avLst/>
            </a:prstGeom>
            <a:noFill/>
          </p:spPr>
          <p:txBody>
            <a:bodyPr wrap="none" rtlCol="0">
              <a:spAutoFit/>
            </a:bodyPr>
            <a:lstStyle/>
            <a:p>
              <a:pPr algn="ctr"/>
              <a:r>
                <a:rPr lang="en-US" sz="2000" b="1" dirty="0">
                  <a:solidFill>
                    <a:schemeClr val="accent5"/>
                  </a:solidFill>
                </a:rPr>
                <a:t>6-12 Months</a:t>
              </a:r>
            </a:p>
          </p:txBody>
        </p:sp>
        <p:sp>
          <p:nvSpPr>
            <p:cNvPr id="17" name="TextBox 16"/>
            <p:cNvSpPr txBox="1"/>
            <p:nvPr/>
          </p:nvSpPr>
          <p:spPr>
            <a:xfrm>
              <a:off x="2230303" y="3342797"/>
              <a:ext cx="1537600" cy="400110"/>
            </a:xfrm>
            <a:prstGeom prst="rect">
              <a:avLst/>
            </a:prstGeom>
            <a:noFill/>
          </p:spPr>
          <p:txBody>
            <a:bodyPr wrap="none" rtlCol="0">
              <a:spAutoFit/>
            </a:bodyPr>
            <a:lstStyle/>
            <a:p>
              <a:pPr algn="ctr"/>
              <a:r>
                <a:rPr lang="en-US" sz="2000" b="1" dirty="0">
                  <a:solidFill>
                    <a:schemeClr val="accent5"/>
                  </a:solidFill>
                </a:rPr>
                <a:t>3-4 Months</a:t>
              </a:r>
            </a:p>
          </p:txBody>
        </p:sp>
        <p:cxnSp>
          <p:nvCxnSpPr>
            <p:cNvPr id="20" name="Straight Connector 19"/>
            <p:cNvCxnSpPr/>
            <p:nvPr/>
          </p:nvCxnSpPr>
          <p:spPr>
            <a:xfrm>
              <a:off x="2999097" y="3897171"/>
              <a:ext cx="0" cy="772625"/>
            </a:xfrm>
            <a:prstGeom prst="line">
              <a:avLst/>
            </a:prstGeom>
            <a:ln w="9525">
              <a:solidFill>
                <a:schemeClr val="accent1"/>
              </a:solidFill>
              <a:headEnd type="ova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1452574" y="2961065"/>
              <a:ext cx="0" cy="772625"/>
            </a:xfrm>
            <a:prstGeom prst="line">
              <a:avLst/>
            </a:prstGeom>
            <a:ln w="9525">
              <a:solidFill>
                <a:schemeClr val="accent1"/>
              </a:solidFill>
              <a:headEnd type="ova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V="1">
              <a:off x="4545620" y="2961065"/>
              <a:ext cx="0" cy="772625"/>
            </a:xfrm>
            <a:prstGeom prst="line">
              <a:avLst/>
            </a:prstGeom>
            <a:ln w="9525">
              <a:solidFill>
                <a:schemeClr val="accent1"/>
              </a:solidFill>
              <a:headEnd type="oval"/>
            </a:ln>
          </p:spPr>
          <p:style>
            <a:lnRef idx="1">
              <a:schemeClr val="accent1"/>
            </a:lnRef>
            <a:fillRef idx="0">
              <a:schemeClr val="accent1"/>
            </a:fillRef>
            <a:effectRef idx="0">
              <a:schemeClr val="accent1"/>
            </a:effectRef>
            <a:fontRef idx="minor">
              <a:schemeClr val="tx1"/>
            </a:fontRef>
          </p:style>
        </p:cxnSp>
      </p:grpSp>
      <p:grpSp>
        <p:nvGrpSpPr>
          <p:cNvPr id="51" name="Group 50">
            <a:extLst>
              <a:ext uri="{FF2B5EF4-FFF2-40B4-BE49-F238E27FC236}">
                <a16:creationId xmlns:a16="http://schemas.microsoft.com/office/drawing/2014/main" id="{5C1659A3-2C02-4B6F-CC44-70600D8BF77F}"/>
              </a:ext>
            </a:extLst>
          </p:cNvPr>
          <p:cNvGrpSpPr/>
          <p:nvPr/>
        </p:nvGrpSpPr>
        <p:grpSpPr>
          <a:xfrm>
            <a:off x="141801" y="1441331"/>
            <a:ext cx="5814463" cy="3465754"/>
            <a:chOff x="359368" y="2154533"/>
            <a:chExt cx="5629553" cy="3001608"/>
          </a:xfrm>
        </p:grpSpPr>
        <p:sp>
          <p:nvSpPr>
            <p:cNvPr id="49" name="Rectangle: Rounded Corners 48">
              <a:extLst>
                <a:ext uri="{FF2B5EF4-FFF2-40B4-BE49-F238E27FC236}">
                  <a16:creationId xmlns:a16="http://schemas.microsoft.com/office/drawing/2014/main" id="{34ADB304-FF4D-5AE8-C856-1B4033468AF6}"/>
                </a:ext>
              </a:extLst>
            </p:cNvPr>
            <p:cNvSpPr/>
            <p:nvPr/>
          </p:nvSpPr>
          <p:spPr>
            <a:xfrm>
              <a:off x="359368" y="2154533"/>
              <a:ext cx="5629553" cy="3001608"/>
            </a:xfrm>
            <a:prstGeom prst="roundRect">
              <a:avLst/>
            </a:prstGeom>
            <a:solidFill>
              <a:schemeClr val="accent2">
                <a:lumMod val="60000"/>
                <a:lumOff val="40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40" name="Content Placeholder 2">
              <a:extLst>
                <a:ext uri="{FF2B5EF4-FFF2-40B4-BE49-F238E27FC236}">
                  <a16:creationId xmlns:a16="http://schemas.microsoft.com/office/drawing/2014/main" id="{A3F86B60-9C71-8393-BA3A-7BEDA6F09538}"/>
                </a:ext>
              </a:extLst>
            </p:cNvPr>
            <p:cNvSpPr txBox="1">
              <a:spLocks/>
            </p:cNvSpPr>
            <p:nvPr/>
          </p:nvSpPr>
          <p:spPr>
            <a:xfrm>
              <a:off x="2044594" y="2582625"/>
              <a:ext cx="3871190" cy="2450449"/>
            </a:xfrm>
            <a:prstGeom prst="rect">
              <a:avLst/>
            </a:prstGeom>
          </p:spPr>
          <p:txBody>
            <a:bodyPr>
              <a:normAutofit/>
            </a:bodyPr>
            <a:lstStyle>
              <a:lvl1pPr marL="0" indent="0" algn="l" defTabSz="483489" rtl="0" eaLnBrk="1" latinLnBrk="0" hangingPunct="1">
                <a:lnSpc>
                  <a:spcPct val="104000"/>
                </a:lnSpc>
                <a:spcBef>
                  <a:spcPts val="1269"/>
                </a:spcBef>
                <a:buFont typeface="Arial" panose="020B0604020202020204" pitchFamily="34" charset="0"/>
                <a:buNone/>
                <a:defRPr sz="1481" kern="1200">
                  <a:solidFill>
                    <a:srgbClr val="4B4B4B"/>
                  </a:solidFill>
                  <a:latin typeface="+mn-lt"/>
                  <a:ea typeface="+mn-ea"/>
                  <a:cs typeface="+mn-cs"/>
                </a:defRPr>
              </a:lvl1pPr>
              <a:lvl2pPr marL="190350" indent="-190350" algn="l" defTabSz="483489" rtl="0" eaLnBrk="1" latinLnBrk="0" hangingPunct="1">
                <a:lnSpc>
                  <a:spcPct val="104000"/>
                </a:lnSpc>
                <a:spcBef>
                  <a:spcPts val="317"/>
                </a:spcBef>
                <a:buClr>
                  <a:schemeClr val="tx1"/>
                </a:buClr>
                <a:buSzPct val="70000"/>
                <a:buFont typeface="Wingdings 2" panose="05020102010507070707" pitchFamily="18" charset="2"/>
                <a:buChar char=""/>
                <a:defRPr sz="1481" kern="1200">
                  <a:solidFill>
                    <a:srgbClr val="4B4B4B"/>
                  </a:solidFill>
                  <a:latin typeface="+mn-lt"/>
                  <a:ea typeface="+mn-ea"/>
                  <a:cs typeface="+mn-cs"/>
                </a:defRPr>
              </a:lvl2pPr>
              <a:lvl3pPr marL="380700" indent="-190350" algn="l" defTabSz="464454" rtl="0" eaLnBrk="1" latinLnBrk="0" hangingPunct="1">
                <a:lnSpc>
                  <a:spcPct val="104000"/>
                </a:lnSpc>
                <a:spcBef>
                  <a:spcPts val="317"/>
                </a:spcBef>
                <a:buClr>
                  <a:schemeClr val="tx1"/>
                </a:buClr>
                <a:buSzPct val="70000"/>
                <a:buFont typeface="Wingdings 2" panose="05020102010507070707" pitchFamily="18" charset="2"/>
                <a:buChar char="¡"/>
                <a:defRPr sz="1481" kern="1200">
                  <a:solidFill>
                    <a:srgbClr val="4B4B4B"/>
                  </a:solidFill>
                  <a:latin typeface="+mn-lt"/>
                  <a:ea typeface="+mn-ea"/>
                  <a:cs typeface="+mn-cs"/>
                </a:defRPr>
              </a:lvl3pPr>
              <a:lvl4pPr marL="593892" indent="-190350" algn="l" defTabSz="483489" rtl="0" eaLnBrk="1" latinLnBrk="0" hangingPunct="1">
                <a:lnSpc>
                  <a:spcPct val="104000"/>
                </a:lnSpc>
                <a:spcBef>
                  <a:spcPts val="317"/>
                </a:spcBef>
                <a:buClr>
                  <a:schemeClr val="tx1"/>
                </a:buClr>
                <a:buSzPct val="70000"/>
                <a:buFont typeface="Wingdings 2" panose="05020102010507070707" pitchFamily="18" charset="2"/>
                <a:buChar char="¡"/>
                <a:defRPr sz="1481" kern="1200">
                  <a:solidFill>
                    <a:srgbClr val="4B4B4B"/>
                  </a:solidFill>
                  <a:latin typeface="+mn-lt"/>
                  <a:ea typeface="+mn-ea"/>
                  <a:cs typeface="+mn-cs"/>
                </a:defRPr>
              </a:lvl4pPr>
              <a:lvl5pPr marL="799470" indent="-190350" algn="l" defTabSz="483489" rtl="0" eaLnBrk="1" latinLnBrk="0" hangingPunct="1">
                <a:lnSpc>
                  <a:spcPct val="104000"/>
                </a:lnSpc>
                <a:spcBef>
                  <a:spcPts val="317"/>
                </a:spcBef>
                <a:buClr>
                  <a:schemeClr val="tx1"/>
                </a:buClr>
                <a:buSzPct val="70000"/>
                <a:buFont typeface="Wingdings 2" panose="05020102010507070707" pitchFamily="18" charset="2"/>
                <a:buChar char="¡"/>
                <a:defRPr sz="1481" kern="1200" baseline="0">
                  <a:solidFill>
                    <a:srgbClr val="4B4B4B"/>
                  </a:solidFill>
                  <a:latin typeface="+mn-lt"/>
                  <a:ea typeface="+mn-ea"/>
                  <a:cs typeface="+mn-cs"/>
                </a:defRPr>
              </a:lvl5pPr>
              <a:lvl6pPr marL="985445" indent="-189703" algn="l" defTabSz="966978" rtl="0" eaLnBrk="1" latinLnBrk="0" hangingPunct="1">
                <a:lnSpc>
                  <a:spcPct val="104000"/>
                </a:lnSpc>
                <a:spcBef>
                  <a:spcPts val="317"/>
                </a:spcBef>
                <a:buClr>
                  <a:schemeClr val="tx1"/>
                </a:buClr>
                <a:buSzPct val="70000"/>
                <a:buFont typeface="Wingdings 2" pitchFamily="18" charset="2"/>
                <a:buChar char=""/>
                <a:defRPr sz="1481" kern="1200">
                  <a:solidFill>
                    <a:srgbClr val="4B4B4B"/>
                  </a:solidFill>
                  <a:latin typeface="+mn-lt"/>
                  <a:ea typeface="+mn-ea"/>
                  <a:cs typeface="+mn-cs"/>
                </a:defRPr>
              </a:lvl6pPr>
              <a:lvl7pPr marL="1153323" indent="-189703" algn="l" defTabSz="966978" rtl="0" eaLnBrk="1" latinLnBrk="0" hangingPunct="1">
                <a:lnSpc>
                  <a:spcPct val="104000"/>
                </a:lnSpc>
                <a:spcBef>
                  <a:spcPts val="317"/>
                </a:spcBef>
                <a:buClr>
                  <a:schemeClr val="tx1"/>
                </a:buClr>
                <a:buSzPct val="70000"/>
                <a:buFont typeface="Wingdings 2" pitchFamily="18" charset="2"/>
                <a:buChar char=""/>
                <a:defRPr sz="1481" kern="1200">
                  <a:solidFill>
                    <a:srgbClr val="4B4B4B"/>
                  </a:solidFill>
                  <a:latin typeface="+mn-lt"/>
                  <a:ea typeface="+mn-ea"/>
                  <a:cs typeface="+mn-cs"/>
                </a:defRPr>
              </a:lvl7pPr>
              <a:lvl8pPr marL="1354777" indent="-189703" algn="l" defTabSz="966978" rtl="0" eaLnBrk="1" latinLnBrk="0" hangingPunct="1">
                <a:lnSpc>
                  <a:spcPct val="104000"/>
                </a:lnSpc>
                <a:spcBef>
                  <a:spcPts val="317"/>
                </a:spcBef>
                <a:buClr>
                  <a:schemeClr val="tx1"/>
                </a:buClr>
                <a:buSzPct val="70000"/>
                <a:buFont typeface="Wingdings 2" pitchFamily="18" charset="2"/>
                <a:buChar char=""/>
                <a:defRPr sz="1481" kern="1200">
                  <a:solidFill>
                    <a:srgbClr val="4B4B4B"/>
                  </a:solidFill>
                  <a:latin typeface="+mn-lt"/>
                  <a:ea typeface="+mn-ea"/>
                  <a:cs typeface="+mn-cs"/>
                </a:defRPr>
              </a:lvl8pPr>
              <a:lvl9pPr marL="1559588" indent="-189703" algn="l" defTabSz="966978" rtl="0" eaLnBrk="1" latinLnBrk="0" hangingPunct="1">
                <a:lnSpc>
                  <a:spcPct val="104000"/>
                </a:lnSpc>
                <a:spcBef>
                  <a:spcPts val="317"/>
                </a:spcBef>
                <a:buClr>
                  <a:schemeClr val="tx1"/>
                </a:buClr>
                <a:buSzPct val="70000"/>
                <a:buFont typeface="Wingdings 2" pitchFamily="18" charset="2"/>
                <a:buChar char=""/>
                <a:defRPr sz="1481" kern="1200">
                  <a:solidFill>
                    <a:srgbClr val="4B4B4B"/>
                  </a:solidFill>
                  <a:latin typeface="+mn-lt"/>
                  <a:ea typeface="+mn-ea"/>
                  <a:cs typeface="+mn-cs"/>
                </a:defRPr>
              </a:lvl9pPr>
            </a:lstStyle>
            <a:p>
              <a:r>
                <a:rPr lang="en-US" sz="1400" b="1" dirty="0"/>
                <a:t>Phase 1</a:t>
              </a:r>
              <a:r>
                <a:rPr lang="en-US" sz="1400" dirty="0"/>
                <a:t>: Study and analysis of current scenario and identify, gather require equipment. </a:t>
              </a:r>
            </a:p>
            <a:p>
              <a:endParaRPr lang="en-US" sz="1400" b="1" dirty="0"/>
            </a:p>
            <a:p>
              <a:r>
                <a:rPr lang="en-US" sz="1400" b="1" dirty="0"/>
                <a:t>Phase 2 </a:t>
              </a:r>
              <a:r>
                <a:rPr lang="en-US" sz="1400" dirty="0"/>
                <a:t>: Indoor test/small testbed trial</a:t>
              </a:r>
            </a:p>
            <a:p>
              <a:endParaRPr lang="en-US" sz="1400" dirty="0"/>
            </a:p>
            <a:p>
              <a:r>
                <a:rPr lang="en-US" sz="1400" b="1" dirty="0"/>
                <a:t>Phase 3</a:t>
              </a:r>
              <a:r>
                <a:rPr lang="en-US" sz="1400" dirty="0"/>
                <a:t>: Deployment /rollout in small area and expend slowly.  </a:t>
              </a:r>
            </a:p>
          </p:txBody>
        </p:sp>
        <p:grpSp>
          <p:nvGrpSpPr>
            <p:cNvPr id="41" name="Group 40">
              <a:extLst>
                <a:ext uri="{FF2B5EF4-FFF2-40B4-BE49-F238E27FC236}">
                  <a16:creationId xmlns:a16="http://schemas.microsoft.com/office/drawing/2014/main" id="{8EC9EB68-A35A-55D7-FF7B-D032791CF832}"/>
                </a:ext>
              </a:extLst>
            </p:cNvPr>
            <p:cNvGrpSpPr/>
            <p:nvPr/>
          </p:nvGrpSpPr>
          <p:grpSpPr>
            <a:xfrm>
              <a:off x="495147" y="2317129"/>
              <a:ext cx="1540404" cy="2516850"/>
              <a:chOff x="731467" y="1243624"/>
              <a:chExt cx="2194613" cy="4799036"/>
            </a:xfrm>
            <a:solidFill>
              <a:schemeClr val="accent5"/>
            </a:solidFill>
          </p:grpSpPr>
          <p:sp>
            <p:nvSpPr>
              <p:cNvPr id="42" name="Freeform 25">
                <a:extLst>
                  <a:ext uri="{FF2B5EF4-FFF2-40B4-BE49-F238E27FC236}">
                    <a16:creationId xmlns:a16="http://schemas.microsoft.com/office/drawing/2014/main" id="{009CCBFF-BE5C-0A13-EAD2-CA102B2D503E}"/>
                  </a:ext>
                </a:extLst>
              </p:cNvPr>
              <p:cNvSpPr>
                <a:spLocks/>
              </p:cNvSpPr>
              <p:nvPr/>
            </p:nvSpPr>
            <p:spPr bwMode="auto">
              <a:xfrm flipH="1">
                <a:off x="731467" y="2770142"/>
                <a:ext cx="2194613" cy="1746000"/>
              </a:xfrm>
              <a:custGeom>
                <a:avLst/>
                <a:gdLst>
                  <a:gd name="connsiteX0" fmla="*/ 2194613 w 2194613"/>
                  <a:gd name="connsiteY0" fmla="*/ 0 h 1825992"/>
                  <a:gd name="connsiteX1" fmla="*/ 1879629 w 2194613"/>
                  <a:gd name="connsiteY1" fmla="*/ 358115 h 1825992"/>
                  <a:gd name="connsiteX2" fmla="*/ 1561222 w 2194613"/>
                  <a:gd name="connsiteY2" fmla="*/ 0 h 1825992"/>
                  <a:gd name="connsiteX3" fmla="*/ 1561222 w 2194613"/>
                  <a:gd name="connsiteY3" fmla="*/ 348898 h 1825992"/>
                  <a:gd name="connsiteX4" fmla="*/ 1561222 w 2194613"/>
                  <a:gd name="connsiteY4" fmla="*/ 348898 h 1825992"/>
                  <a:gd name="connsiteX5" fmla="*/ 1561222 w 2194613"/>
                  <a:gd name="connsiteY5" fmla="*/ 617962 h 1825992"/>
                  <a:gd name="connsiteX6" fmla="*/ 54780 w 2194613"/>
                  <a:gd name="connsiteY6" fmla="*/ 617962 h 1825992"/>
                  <a:gd name="connsiteX7" fmla="*/ 44509 w 2194613"/>
                  <a:gd name="connsiteY7" fmla="*/ 619568 h 1825992"/>
                  <a:gd name="connsiteX8" fmla="*/ 34237 w 2194613"/>
                  <a:gd name="connsiteY8" fmla="*/ 624386 h 1825992"/>
                  <a:gd name="connsiteX9" fmla="*/ 25108 w 2194613"/>
                  <a:gd name="connsiteY9" fmla="*/ 630809 h 1825992"/>
                  <a:gd name="connsiteX10" fmla="*/ 15978 w 2194613"/>
                  <a:gd name="connsiteY10" fmla="*/ 640445 h 1825992"/>
                  <a:gd name="connsiteX11" fmla="*/ 10271 w 2194613"/>
                  <a:gd name="connsiteY11" fmla="*/ 651686 h 1825992"/>
                  <a:gd name="connsiteX12" fmla="*/ 4565 w 2194613"/>
                  <a:gd name="connsiteY12" fmla="*/ 664533 h 1825992"/>
                  <a:gd name="connsiteX13" fmla="*/ 1141 w 2194613"/>
                  <a:gd name="connsiteY13" fmla="*/ 678986 h 1825992"/>
                  <a:gd name="connsiteX14" fmla="*/ 0 w 2194613"/>
                  <a:gd name="connsiteY14" fmla="*/ 695045 h 1825992"/>
                  <a:gd name="connsiteX15" fmla="*/ 0 w 2194613"/>
                  <a:gd name="connsiteY15" fmla="*/ 892966 h 1825992"/>
                  <a:gd name="connsiteX16" fmla="*/ 0 w 2194613"/>
                  <a:gd name="connsiteY16" fmla="*/ 1104549 h 1825992"/>
                  <a:gd name="connsiteX17" fmla="*/ 0 w 2194613"/>
                  <a:gd name="connsiteY17" fmla="*/ 1194479 h 1825992"/>
                  <a:gd name="connsiteX18" fmla="*/ 0 w 2194613"/>
                  <a:gd name="connsiteY18" fmla="*/ 1274774 h 1825992"/>
                  <a:gd name="connsiteX19" fmla="*/ 0 w 2194613"/>
                  <a:gd name="connsiteY19" fmla="*/ 1302470 h 1825992"/>
                  <a:gd name="connsiteX20" fmla="*/ 0 w 2194613"/>
                  <a:gd name="connsiteY20" fmla="*/ 1392400 h 1825992"/>
                  <a:gd name="connsiteX21" fmla="*/ 0 w 2194613"/>
                  <a:gd name="connsiteY21" fmla="*/ 1472695 h 1825992"/>
                  <a:gd name="connsiteX22" fmla="*/ 318407 w 2194613"/>
                  <a:gd name="connsiteY22" fmla="*/ 1825992 h 1825992"/>
                  <a:gd name="connsiteX23" fmla="*/ 627081 w 2194613"/>
                  <a:gd name="connsiteY23" fmla="*/ 1474075 h 1825992"/>
                  <a:gd name="connsiteX24" fmla="*/ 627081 w 2194613"/>
                  <a:gd name="connsiteY24" fmla="*/ 1276154 h 1825992"/>
                  <a:gd name="connsiteX25" fmla="*/ 631108 w 2194613"/>
                  <a:gd name="connsiteY25" fmla="*/ 1271562 h 1825992"/>
                  <a:gd name="connsiteX26" fmla="*/ 2139833 w 2194613"/>
                  <a:gd name="connsiteY26" fmla="*/ 1271562 h 1825992"/>
                  <a:gd name="connsiteX27" fmla="*/ 2151246 w 2194613"/>
                  <a:gd name="connsiteY27" fmla="*/ 1269956 h 1825992"/>
                  <a:gd name="connsiteX28" fmla="*/ 2161517 w 2194613"/>
                  <a:gd name="connsiteY28" fmla="*/ 1265139 h 1825992"/>
                  <a:gd name="connsiteX29" fmla="*/ 2170647 w 2194613"/>
                  <a:gd name="connsiteY29" fmla="*/ 1258715 h 1825992"/>
                  <a:gd name="connsiteX30" fmla="*/ 2178635 w 2194613"/>
                  <a:gd name="connsiteY30" fmla="*/ 1249080 h 1825992"/>
                  <a:gd name="connsiteX31" fmla="*/ 2185483 w 2194613"/>
                  <a:gd name="connsiteY31" fmla="*/ 1237838 h 1825992"/>
                  <a:gd name="connsiteX32" fmla="*/ 2190048 w 2194613"/>
                  <a:gd name="connsiteY32" fmla="*/ 1223385 h 1825992"/>
                  <a:gd name="connsiteX33" fmla="*/ 2193472 w 2194613"/>
                  <a:gd name="connsiteY33" fmla="*/ 1208932 h 1825992"/>
                  <a:gd name="connsiteX34" fmla="*/ 2194613 w 2194613"/>
                  <a:gd name="connsiteY34" fmla="*/ 1194479 h 1825992"/>
                  <a:gd name="connsiteX35" fmla="*/ 2194613 w 2194613"/>
                  <a:gd name="connsiteY35" fmla="*/ 807458 h 1825992"/>
                  <a:gd name="connsiteX36" fmla="*/ 2194613 w 2194613"/>
                  <a:gd name="connsiteY36" fmla="*/ 725557 h 1825992"/>
                  <a:gd name="connsiteX37" fmla="*/ 2194613 w 2194613"/>
                  <a:gd name="connsiteY37" fmla="*/ 695045 h 1825992"/>
                  <a:gd name="connsiteX38" fmla="*/ 2194613 w 2194613"/>
                  <a:gd name="connsiteY38" fmla="*/ 373644 h 1825992"/>
                  <a:gd name="connsiteX39" fmla="*/ 2194613 w 2194613"/>
                  <a:gd name="connsiteY39" fmla="*/ 373644 h 1825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194613" h="1825992">
                    <a:moveTo>
                      <a:pt x="2194613" y="0"/>
                    </a:moveTo>
                    <a:lnTo>
                      <a:pt x="1879629" y="358115"/>
                    </a:lnTo>
                    <a:lnTo>
                      <a:pt x="1561222" y="0"/>
                    </a:lnTo>
                    <a:lnTo>
                      <a:pt x="1561222" y="348898"/>
                    </a:lnTo>
                    <a:lnTo>
                      <a:pt x="1561222" y="348898"/>
                    </a:lnTo>
                    <a:lnTo>
                      <a:pt x="1561222" y="617962"/>
                    </a:lnTo>
                    <a:lnTo>
                      <a:pt x="54780" y="617962"/>
                    </a:lnTo>
                    <a:lnTo>
                      <a:pt x="44509" y="619568"/>
                    </a:lnTo>
                    <a:lnTo>
                      <a:pt x="34237" y="624386"/>
                    </a:lnTo>
                    <a:lnTo>
                      <a:pt x="25108" y="630809"/>
                    </a:lnTo>
                    <a:lnTo>
                      <a:pt x="15978" y="640445"/>
                    </a:lnTo>
                    <a:lnTo>
                      <a:pt x="10271" y="651686"/>
                    </a:lnTo>
                    <a:lnTo>
                      <a:pt x="4565" y="664533"/>
                    </a:lnTo>
                    <a:lnTo>
                      <a:pt x="1141" y="678986"/>
                    </a:lnTo>
                    <a:lnTo>
                      <a:pt x="0" y="695045"/>
                    </a:lnTo>
                    <a:lnTo>
                      <a:pt x="0" y="892966"/>
                    </a:lnTo>
                    <a:lnTo>
                      <a:pt x="0" y="1104549"/>
                    </a:lnTo>
                    <a:lnTo>
                      <a:pt x="0" y="1194479"/>
                    </a:lnTo>
                    <a:lnTo>
                      <a:pt x="0" y="1274774"/>
                    </a:lnTo>
                    <a:lnTo>
                      <a:pt x="0" y="1302470"/>
                    </a:lnTo>
                    <a:lnTo>
                      <a:pt x="0" y="1392400"/>
                    </a:lnTo>
                    <a:lnTo>
                      <a:pt x="0" y="1472695"/>
                    </a:lnTo>
                    <a:lnTo>
                      <a:pt x="318407" y="1825992"/>
                    </a:lnTo>
                    <a:lnTo>
                      <a:pt x="627081" y="1474075"/>
                    </a:lnTo>
                    <a:lnTo>
                      <a:pt x="627081" y="1276154"/>
                    </a:lnTo>
                    <a:lnTo>
                      <a:pt x="631108" y="1271562"/>
                    </a:lnTo>
                    <a:lnTo>
                      <a:pt x="2139833" y="1271562"/>
                    </a:lnTo>
                    <a:lnTo>
                      <a:pt x="2151246" y="1269956"/>
                    </a:lnTo>
                    <a:lnTo>
                      <a:pt x="2161517" y="1265139"/>
                    </a:lnTo>
                    <a:lnTo>
                      <a:pt x="2170647" y="1258715"/>
                    </a:lnTo>
                    <a:lnTo>
                      <a:pt x="2178635" y="1249080"/>
                    </a:lnTo>
                    <a:lnTo>
                      <a:pt x="2185483" y="1237838"/>
                    </a:lnTo>
                    <a:lnTo>
                      <a:pt x="2190048" y="1223385"/>
                    </a:lnTo>
                    <a:lnTo>
                      <a:pt x="2193472" y="1208932"/>
                    </a:lnTo>
                    <a:lnTo>
                      <a:pt x="2194613" y="1194479"/>
                    </a:lnTo>
                    <a:lnTo>
                      <a:pt x="2194613" y="807458"/>
                    </a:lnTo>
                    <a:lnTo>
                      <a:pt x="2194613" y="725557"/>
                    </a:lnTo>
                    <a:lnTo>
                      <a:pt x="2194613" y="695045"/>
                    </a:lnTo>
                    <a:lnTo>
                      <a:pt x="2194613" y="373644"/>
                    </a:lnTo>
                    <a:lnTo>
                      <a:pt x="2194613" y="373644"/>
                    </a:lnTo>
                    <a:close/>
                  </a:path>
                </a:pathLst>
              </a:custGeom>
              <a:grpFill/>
              <a:ln w="1270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67274" eaLnBrk="1" fontAlgn="auto" latinLnBrk="0" hangingPunct="1">
                  <a:lnSpc>
                    <a:spcPct val="100000"/>
                  </a:lnSpc>
                  <a:spcBef>
                    <a:spcPts val="0"/>
                  </a:spcBef>
                  <a:spcAft>
                    <a:spcPts val="0"/>
                  </a:spcAft>
                  <a:buClrTx/>
                  <a:buSzTx/>
                  <a:buFontTx/>
                  <a:buNone/>
                  <a:tabLst/>
                  <a:defRPr/>
                </a:pPr>
                <a:endParaRPr kumimoji="0" lang="en-GB" sz="1904" b="0" i="0" u="none" strike="noStrike" kern="0" cap="none" spc="0" normalizeH="0" baseline="0" noProof="0">
                  <a:ln>
                    <a:noFill/>
                  </a:ln>
                  <a:solidFill>
                    <a:srgbClr val="4D4D4D"/>
                  </a:solidFill>
                  <a:effectLst/>
                  <a:uLnTx/>
                  <a:uFillTx/>
                </a:endParaRPr>
              </a:p>
            </p:txBody>
          </p:sp>
          <p:sp>
            <p:nvSpPr>
              <p:cNvPr id="43" name="Freeform 26">
                <a:extLst>
                  <a:ext uri="{FF2B5EF4-FFF2-40B4-BE49-F238E27FC236}">
                    <a16:creationId xmlns:a16="http://schemas.microsoft.com/office/drawing/2014/main" id="{A2F649D8-9F47-0885-5540-762A90D63C50}"/>
                  </a:ext>
                </a:extLst>
              </p:cNvPr>
              <p:cNvSpPr>
                <a:spLocks/>
              </p:cNvSpPr>
              <p:nvPr/>
            </p:nvSpPr>
            <p:spPr bwMode="auto">
              <a:xfrm>
                <a:off x="731467" y="1243624"/>
                <a:ext cx="2194613" cy="1746000"/>
              </a:xfrm>
              <a:custGeom>
                <a:avLst/>
                <a:gdLst>
                  <a:gd name="connsiteX0" fmla="*/ 2194613 w 2194613"/>
                  <a:gd name="connsiteY0" fmla="*/ 0 h 1825992"/>
                  <a:gd name="connsiteX1" fmla="*/ 1879629 w 2194613"/>
                  <a:gd name="connsiteY1" fmla="*/ 358115 h 1825992"/>
                  <a:gd name="connsiteX2" fmla="*/ 1561222 w 2194613"/>
                  <a:gd name="connsiteY2" fmla="*/ 0 h 1825992"/>
                  <a:gd name="connsiteX3" fmla="*/ 1561222 w 2194613"/>
                  <a:gd name="connsiteY3" fmla="*/ 348898 h 1825992"/>
                  <a:gd name="connsiteX4" fmla="*/ 1561222 w 2194613"/>
                  <a:gd name="connsiteY4" fmla="*/ 348898 h 1825992"/>
                  <a:gd name="connsiteX5" fmla="*/ 1561222 w 2194613"/>
                  <a:gd name="connsiteY5" fmla="*/ 617962 h 1825992"/>
                  <a:gd name="connsiteX6" fmla="*/ 54780 w 2194613"/>
                  <a:gd name="connsiteY6" fmla="*/ 617962 h 1825992"/>
                  <a:gd name="connsiteX7" fmla="*/ 44509 w 2194613"/>
                  <a:gd name="connsiteY7" fmla="*/ 619568 h 1825992"/>
                  <a:gd name="connsiteX8" fmla="*/ 34237 w 2194613"/>
                  <a:gd name="connsiteY8" fmla="*/ 624386 h 1825992"/>
                  <a:gd name="connsiteX9" fmla="*/ 25108 w 2194613"/>
                  <a:gd name="connsiteY9" fmla="*/ 630809 h 1825992"/>
                  <a:gd name="connsiteX10" fmla="*/ 15978 w 2194613"/>
                  <a:gd name="connsiteY10" fmla="*/ 640445 h 1825992"/>
                  <a:gd name="connsiteX11" fmla="*/ 10271 w 2194613"/>
                  <a:gd name="connsiteY11" fmla="*/ 651686 h 1825992"/>
                  <a:gd name="connsiteX12" fmla="*/ 4565 w 2194613"/>
                  <a:gd name="connsiteY12" fmla="*/ 664533 h 1825992"/>
                  <a:gd name="connsiteX13" fmla="*/ 1141 w 2194613"/>
                  <a:gd name="connsiteY13" fmla="*/ 678986 h 1825992"/>
                  <a:gd name="connsiteX14" fmla="*/ 0 w 2194613"/>
                  <a:gd name="connsiteY14" fmla="*/ 695045 h 1825992"/>
                  <a:gd name="connsiteX15" fmla="*/ 0 w 2194613"/>
                  <a:gd name="connsiteY15" fmla="*/ 892966 h 1825992"/>
                  <a:gd name="connsiteX16" fmla="*/ 0 w 2194613"/>
                  <a:gd name="connsiteY16" fmla="*/ 1104549 h 1825992"/>
                  <a:gd name="connsiteX17" fmla="*/ 0 w 2194613"/>
                  <a:gd name="connsiteY17" fmla="*/ 1194479 h 1825992"/>
                  <a:gd name="connsiteX18" fmla="*/ 0 w 2194613"/>
                  <a:gd name="connsiteY18" fmla="*/ 1274774 h 1825992"/>
                  <a:gd name="connsiteX19" fmla="*/ 0 w 2194613"/>
                  <a:gd name="connsiteY19" fmla="*/ 1302470 h 1825992"/>
                  <a:gd name="connsiteX20" fmla="*/ 0 w 2194613"/>
                  <a:gd name="connsiteY20" fmla="*/ 1392400 h 1825992"/>
                  <a:gd name="connsiteX21" fmla="*/ 0 w 2194613"/>
                  <a:gd name="connsiteY21" fmla="*/ 1472695 h 1825992"/>
                  <a:gd name="connsiteX22" fmla="*/ 318407 w 2194613"/>
                  <a:gd name="connsiteY22" fmla="*/ 1825992 h 1825992"/>
                  <a:gd name="connsiteX23" fmla="*/ 627081 w 2194613"/>
                  <a:gd name="connsiteY23" fmla="*/ 1474075 h 1825992"/>
                  <a:gd name="connsiteX24" fmla="*/ 627081 w 2194613"/>
                  <a:gd name="connsiteY24" fmla="*/ 1276154 h 1825992"/>
                  <a:gd name="connsiteX25" fmla="*/ 631108 w 2194613"/>
                  <a:gd name="connsiteY25" fmla="*/ 1271562 h 1825992"/>
                  <a:gd name="connsiteX26" fmla="*/ 2139833 w 2194613"/>
                  <a:gd name="connsiteY26" fmla="*/ 1271562 h 1825992"/>
                  <a:gd name="connsiteX27" fmla="*/ 2151246 w 2194613"/>
                  <a:gd name="connsiteY27" fmla="*/ 1269956 h 1825992"/>
                  <a:gd name="connsiteX28" fmla="*/ 2161517 w 2194613"/>
                  <a:gd name="connsiteY28" fmla="*/ 1265139 h 1825992"/>
                  <a:gd name="connsiteX29" fmla="*/ 2170647 w 2194613"/>
                  <a:gd name="connsiteY29" fmla="*/ 1258715 h 1825992"/>
                  <a:gd name="connsiteX30" fmla="*/ 2178635 w 2194613"/>
                  <a:gd name="connsiteY30" fmla="*/ 1249080 h 1825992"/>
                  <a:gd name="connsiteX31" fmla="*/ 2185483 w 2194613"/>
                  <a:gd name="connsiteY31" fmla="*/ 1237838 h 1825992"/>
                  <a:gd name="connsiteX32" fmla="*/ 2190048 w 2194613"/>
                  <a:gd name="connsiteY32" fmla="*/ 1223385 h 1825992"/>
                  <a:gd name="connsiteX33" fmla="*/ 2193472 w 2194613"/>
                  <a:gd name="connsiteY33" fmla="*/ 1208932 h 1825992"/>
                  <a:gd name="connsiteX34" fmla="*/ 2194613 w 2194613"/>
                  <a:gd name="connsiteY34" fmla="*/ 1194479 h 1825992"/>
                  <a:gd name="connsiteX35" fmla="*/ 2194613 w 2194613"/>
                  <a:gd name="connsiteY35" fmla="*/ 807458 h 1825992"/>
                  <a:gd name="connsiteX36" fmla="*/ 2194613 w 2194613"/>
                  <a:gd name="connsiteY36" fmla="*/ 725557 h 1825992"/>
                  <a:gd name="connsiteX37" fmla="*/ 2194613 w 2194613"/>
                  <a:gd name="connsiteY37" fmla="*/ 695045 h 1825992"/>
                  <a:gd name="connsiteX38" fmla="*/ 2194613 w 2194613"/>
                  <a:gd name="connsiteY38" fmla="*/ 373644 h 1825992"/>
                  <a:gd name="connsiteX39" fmla="*/ 2194613 w 2194613"/>
                  <a:gd name="connsiteY39" fmla="*/ 373644 h 1825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194613" h="1825992">
                    <a:moveTo>
                      <a:pt x="2194613" y="0"/>
                    </a:moveTo>
                    <a:lnTo>
                      <a:pt x="1879629" y="358115"/>
                    </a:lnTo>
                    <a:lnTo>
                      <a:pt x="1561222" y="0"/>
                    </a:lnTo>
                    <a:lnTo>
                      <a:pt x="1561222" y="348898"/>
                    </a:lnTo>
                    <a:lnTo>
                      <a:pt x="1561222" y="348898"/>
                    </a:lnTo>
                    <a:lnTo>
                      <a:pt x="1561222" y="617962"/>
                    </a:lnTo>
                    <a:lnTo>
                      <a:pt x="54780" y="617962"/>
                    </a:lnTo>
                    <a:lnTo>
                      <a:pt x="44509" y="619568"/>
                    </a:lnTo>
                    <a:lnTo>
                      <a:pt x="34237" y="624386"/>
                    </a:lnTo>
                    <a:lnTo>
                      <a:pt x="25108" y="630809"/>
                    </a:lnTo>
                    <a:lnTo>
                      <a:pt x="15978" y="640445"/>
                    </a:lnTo>
                    <a:lnTo>
                      <a:pt x="10271" y="651686"/>
                    </a:lnTo>
                    <a:lnTo>
                      <a:pt x="4565" y="664533"/>
                    </a:lnTo>
                    <a:lnTo>
                      <a:pt x="1141" y="678986"/>
                    </a:lnTo>
                    <a:lnTo>
                      <a:pt x="0" y="695045"/>
                    </a:lnTo>
                    <a:lnTo>
                      <a:pt x="0" y="892966"/>
                    </a:lnTo>
                    <a:lnTo>
                      <a:pt x="0" y="1104549"/>
                    </a:lnTo>
                    <a:lnTo>
                      <a:pt x="0" y="1194479"/>
                    </a:lnTo>
                    <a:lnTo>
                      <a:pt x="0" y="1274774"/>
                    </a:lnTo>
                    <a:lnTo>
                      <a:pt x="0" y="1302470"/>
                    </a:lnTo>
                    <a:lnTo>
                      <a:pt x="0" y="1392400"/>
                    </a:lnTo>
                    <a:lnTo>
                      <a:pt x="0" y="1472695"/>
                    </a:lnTo>
                    <a:lnTo>
                      <a:pt x="318407" y="1825992"/>
                    </a:lnTo>
                    <a:lnTo>
                      <a:pt x="627081" y="1474075"/>
                    </a:lnTo>
                    <a:lnTo>
                      <a:pt x="627081" y="1276154"/>
                    </a:lnTo>
                    <a:lnTo>
                      <a:pt x="631108" y="1271562"/>
                    </a:lnTo>
                    <a:lnTo>
                      <a:pt x="2139833" y="1271562"/>
                    </a:lnTo>
                    <a:lnTo>
                      <a:pt x="2151246" y="1269956"/>
                    </a:lnTo>
                    <a:lnTo>
                      <a:pt x="2161517" y="1265139"/>
                    </a:lnTo>
                    <a:lnTo>
                      <a:pt x="2170647" y="1258715"/>
                    </a:lnTo>
                    <a:lnTo>
                      <a:pt x="2178635" y="1249080"/>
                    </a:lnTo>
                    <a:lnTo>
                      <a:pt x="2185483" y="1237838"/>
                    </a:lnTo>
                    <a:lnTo>
                      <a:pt x="2190048" y="1223385"/>
                    </a:lnTo>
                    <a:lnTo>
                      <a:pt x="2193472" y="1208932"/>
                    </a:lnTo>
                    <a:lnTo>
                      <a:pt x="2194613" y="1194479"/>
                    </a:lnTo>
                    <a:lnTo>
                      <a:pt x="2194613" y="807458"/>
                    </a:lnTo>
                    <a:lnTo>
                      <a:pt x="2194613" y="725557"/>
                    </a:lnTo>
                    <a:lnTo>
                      <a:pt x="2194613" y="695045"/>
                    </a:lnTo>
                    <a:lnTo>
                      <a:pt x="2194613" y="373644"/>
                    </a:lnTo>
                    <a:lnTo>
                      <a:pt x="2194613" y="373644"/>
                    </a:lnTo>
                    <a:close/>
                  </a:path>
                </a:pathLst>
              </a:custGeom>
              <a:grpFill/>
              <a:ln w="1270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67274" eaLnBrk="1" fontAlgn="auto" latinLnBrk="0" hangingPunct="1">
                  <a:lnSpc>
                    <a:spcPct val="100000"/>
                  </a:lnSpc>
                  <a:spcBef>
                    <a:spcPts val="0"/>
                  </a:spcBef>
                  <a:spcAft>
                    <a:spcPts val="0"/>
                  </a:spcAft>
                  <a:buClrTx/>
                  <a:buSzTx/>
                  <a:buFontTx/>
                  <a:buNone/>
                  <a:tabLst/>
                  <a:defRPr/>
                </a:pPr>
                <a:endParaRPr kumimoji="0" lang="en-GB" sz="1904" b="0" i="0" u="none" strike="noStrike" kern="0" cap="none" spc="0" normalizeH="0" baseline="0" noProof="0" dirty="0">
                  <a:ln>
                    <a:noFill/>
                  </a:ln>
                  <a:solidFill>
                    <a:srgbClr val="4D4D4D"/>
                  </a:solidFill>
                  <a:effectLst/>
                  <a:uLnTx/>
                  <a:uFillTx/>
                </a:endParaRPr>
              </a:p>
            </p:txBody>
          </p:sp>
          <p:sp>
            <p:nvSpPr>
              <p:cNvPr id="44" name="Freeform 29">
                <a:extLst>
                  <a:ext uri="{FF2B5EF4-FFF2-40B4-BE49-F238E27FC236}">
                    <a16:creationId xmlns:a16="http://schemas.microsoft.com/office/drawing/2014/main" id="{41DE5D89-89ED-0CE4-3045-B30FF77EB4D7}"/>
                  </a:ext>
                </a:extLst>
              </p:cNvPr>
              <p:cNvSpPr>
                <a:spLocks/>
              </p:cNvSpPr>
              <p:nvPr/>
            </p:nvSpPr>
            <p:spPr bwMode="auto">
              <a:xfrm>
                <a:off x="731467" y="4296660"/>
                <a:ext cx="2194613" cy="1746000"/>
              </a:xfrm>
              <a:custGeom>
                <a:avLst/>
                <a:gdLst>
                  <a:gd name="connsiteX0" fmla="*/ 2194613 w 2194613"/>
                  <a:gd name="connsiteY0" fmla="*/ 0 h 1825992"/>
                  <a:gd name="connsiteX1" fmla="*/ 1879629 w 2194613"/>
                  <a:gd name="connsiteY1" fmla="*/ 358115 h 1825992"/>
                  <a:gd name="connsiteX2" fmla="*/ 1561222 w 2194613"/>
                  <a:gd name="connsiteY2" fmla="*/ 0 h 1825992"/>
                  <a:gd name="connsiteX3" fmla="*/ 1561222 w 2194613"/>
                  <a:gd name="connsiteY3" fmla="*/ 348898 h 1825992"/>
                  <a:gd name="connsiteX4" fmla="*/ 1561222 w 2194613"/>
                  <a:gd name="connsiteY4" fmla="*/ 348898 h 1825992"/>
                  <a:gd name="connsiteX5" fmla="*/ 1561222 w 2194613"/>
                  <a:gd name="connsiteY5" fmla="*/ 617962 h 1825992"/>
                  <a:gd name="connsiteX6" fmla="*/ 54780 w 2194613"/>
                  <a:gd name="connsiteY6" fmla="*/ 617962 h 1825992"/>
                  <a:gd name="connsiteX7" fmla="*/ 44509 w 2194613"/>
                  <a:gd name="connsiteY7" fmla="*/ 619568 h 1825992"/>
                  <a:gd name="connsiteX8" fmla="*/ 34237 w 2194613"/>
                  <a:gd name="connsiteY8" fmla="*/ 624386 h 1825992"/>
                  <a:gd name="connsiteX9" fmla="*/ 25108 w 2194613"/>
                  <a:gd name="connsiteY9" fmla="*/ 630809 h 1825992"/>
                  <a:gd name="connsiteX10" fmla="*/ 15978 w 2194613"/>
                  <a:gd name="connsiteY10" fmla="*/ 640445 h 1825992"/>
                  <a:gd name="connsiteX11" fmla="*/ 10271 w 2194613"/>
                  <a:gd name="connsiteY11" fmla="*/ 651686 h 1825992"/>
                  <a:gd name="connsiteX12" fmla="*/ 4565 w 2194613"/>
                  <a:gd name="connsiteY12" fmla="*/ 664533 h 1825992"/>
                  <a:gd name="connsiteX13" fmla="*/ 1141 w 2194613"/>
                  <a:gd name="connsiteY13" fmla="*/ 678986 h 1825992"/>
                  <a:gd name="connsiteX14" fmla="*/ 0 w 2194613"/>
                  <a:gd name="connsiteY14" fmla="*/ 695045 h 1825992"/>
                  <a:gd name="connsiteX15" fmla="*/ 0 w 2194613"/>
                  <a:gd name="connsiteY15" fmla="*/ 892966 h 1825992"/>
                  <a:gd name="connsiteX16" fmla="*/ 0 w 2194613"/>
                  <a:gd name="connsiteY16" fmla="*/ 1104549 h 1825992"/>
                  <a:gd name="connsiteX17" fmla="*/ 0 w 2194613"/>
                  <a:gd name="connsiteY17" fmla="*/ 1194479 h 1825992"/>
                  <a:gd name="connsiteX18" fmla="*/ 0 w 2194613"/>
                  <a:gd name="connsiteY18" fmla="*/ 1274774 h 1825992"/>
                  <a:gd name="connsiteX19" fmla="*/ 0 w 2194613"/>
                  <a:gd name="connsiteY19" fmla="*/ 1302470 h 1825992"/>
                  <a:gd name="connsiteX20" fmla="*/ 0 w 2194613"/>
                  <a:gd name="connsiteY20" fmla="*/ 1392400 h 1825992"/>
                  <a:gd name="connsiteX21" fmla="*/ 0 w 2194613"/>
                  <a:gd name="connsiteY21" fmla="*/ 1472695 h 1825992"/>
                  <a:gd name="connsiteX22" fmla="*/ 318407 w 2194613"/>
                  <a:gd name="connsiteY22" fmla="*/ 1825992 h 1825992"/>
                  <a:gd name="connsiteX23" fmla="*/ 627081 w 2194613"/>
                  <a:gd name="connsiteY23" fmla="*/ 1474075 h 1825992"/>
                  <a:gd name="connsiteX24" fmla="*/ 627081 w 2194613"/>
                  <a:gd name="connsiteY24" fmla="*/ 1276154 h 1825992"/>
                  <a:gd name="connsiteX25" fmla="*/ 631108 w 2194613"/>
                  <a:gd name="connsiteY25" fmla="*/ 1271562 h 1825992"/>
                  <a:gd name="connsiteX26" fmla="*/ 2139833 w 2194613"/>
                  <a:gd name="connsiteY26" fmla="*/ 1271562 h 1825992"/>
                  <a:gd name="connsiteX27" fmla="*/ 2151246 w 2194613"/>
                  <a:gd name="connsiteY27" fmla="*/ 1269956 h 1825992"/>
                  <a:gd name="connsiteX28" fmla="*/ 2161517 w 2194613"/>
                  <a:gd name="connsiteY28" fmla="*/ 1265139 h 1825992"/>
                  <a:gd name="connsiteX29" fmla="*/ 2170647 w 2194613"/>
                  <a:gd name="connsiteY29" fmla="*/ 1258715 h 1825992"/>
                  <a:gd name="connsiteX30" fmla="*/ 2178635 w 2194613"/>
                  <a:gd name="connsiteY30" fmla="*/ 1249080 h 1825992"/>
                  <a:gd name="connsiteX31" fmla="*/ 2185483 w 2194613"/>
                  <a:gd name="connsiteY31" fmla="*/ 1237838 h 1825992"/>
                  <a:gd name="connsiteX32" fmla="*/ 2190048 w 2194613"/>
                  <a:gd name="connsiteY32" fmla="*/ 1223385 h 1825992"/>
                  <a:gd name="connsiteX33" fmla="*/ 2193472 w 2194613"/>
                  <a:gd name="connsiteY33" fmla="*/ 1208932 h 1825992"/>
                  <a:gd name="connsiteX34" fmla="*/ 2194613 w 2194613"/>
                  <a:gd name="connsiteY34" fmla="*/ 1194479 h 1825992"/>
                  <a:gd name="connsiteX35" fmla="*/ 2194613 w 2194613"/>
                  <a:gd name="connsiteY35" fmla="*/ 807458 h 1825992"/>
                  <a:gd name="connsiteX36" fmla="*/ 2194613 w 2194613"/>
                  <a:gd name="connsiteY36" fmla="*/ 725557 h 1825992"/>
                  <a:gd name="connsiteX37" fmla="*/ 2194613 w 2194613"/>
                  <a:gd name="connsiteY37" fmla="*/ 695045 h 1825992"/>
                  <a:gd name="connsiteX38" fmla="*/ 2194613 w 2194613"/>
                  <a:gd name="connsiteY38" fmla="*/ 373644 h 1825992"/>
                  <a:gd name="connsiteX39" fmla="*/ 2194613 w 2194613"/>
                  <a:gd name="connsiteY39" fmla="*/ 373644 h 1825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194613" h="1825992">
                    <a:moveTo>
                      <a:pt x="2194613" y="0"/>
                    </a:moveTo>
                    <a:lnTo>
                      <a:pt x="1879629" y="358115"/>
                    </a:lnTo>
                    <a:lnTo>
                      <a:pt x="1561222" y="0"/>
                    </a:lnTo>
                    <a:lnTo>
                      <a:pt x="1561222" y="348898"/>
                    </a:lnTo>
                    <a:lnTo>
                      <a:pt x="1561222" y="348898"/>
                    </a:lnTo>
                    <a:lnTo>
                      <a:pt x="1561222" y="617962"/>
                    </a:lnTo>
                    <a:lnTo>
                      <a:pt x="54780" y="617962"/>
                    </a:lnTo>
                    <a:lnTo>
                      <a:pt x="44509" y="619568"/>
                    </a:lnTo>
                    <a:lnTo>
                      <a:pt x="34237" y="624386"/>
                    </a:lnTo>
                    <a:lnTo>
                      <a:pt x="25108" y="630809"/>
                    </a:lnTo>
                    <a:lnTo>
                      <a:pt x="15978" y="640445"/>
                    </a:lnTo>
                    <a:lnTo>
                      <a:pt x="10271" y="651686"/>
                    </a:lnTo>
                    <a:lnTo>
                      <a:pt x="4565" y="664533"/>
                    </a:lnTo>
                    <a:lnTo>
                      <a:pt x="1141" y="678986"/>
                    </a:lnTo>
                    <a:lnTo>
                      <a:pt x="0" y="695045"/>
                    </a:lnTo>
                    <a:lnTo>
                      <a:pt x="0" y="892966"/>
                    </a:lnTo>
                    <a:lnTo>
                      <a:pt x="0" y="1104549"/>
                    </a:lnTo>
                    <a:lnTo>
                      <a:pt x="0" y="1194479"/>
                    </a:lnTo>
                    <a:lnTo>
                      <a:pt x="0" y="1274774"/>
                    </a:lnTo>
                    <a:lnTo>
                      <a:pt x="0" y="1302470"/>
                    </a:lnTo>
                    <a:lnTo>
                      <a:pt x="0" y="1392400"/>
                    </a:lnTo>
                    <a:lnTo>
                      <a:pt x="0" y="1472695"/>
                    </a:lnTo>
                    <a:lnTo>
                      <a:pt x="318407" y="1825992"/>
                    </a:lnTo>
                    <a:lnTo>
                      <a:pt x="627081" y="1474075"/>
                    </a:lnTo>
                    <a:lnTo>
                      <a:pt x="627081" y="1276154"/>
                    </a:lnTo>
                    <a:lnTo>
                      <a:pt x="631108" y="1271562"/>
                    </a:lnTo>
                    <a:lnTo>
                      <a:pt x="2139833" y="1271562"/>
                    </a:lnTo>
                    <a:lnTo>
                      <a:pt x="2151246" y="1269956"/>
                    </a:lnTo>
                    <a:lnTo>
                      <a:pt x="2161517" y="1265139"/>
                    </a:lnTo>
                    <a:lnTo>
                      <a:pt x="2170647" y="1258715"/>
                    </a:lnTo>
                    <a:lnTo>
                      <a:pt x="2178635" y="1249080"/>
                    </a:lnTo>
                    <a:lnTo>
                      <a:pt x="2185483" y="1237838"/>
                    </a:lnTo>
                    <a:lnTo>
                      <a:pt x="2190048" y="1223385"/>
                    </a:lnTo>
                    <a:lnTo>
                      <a:pt x="2193472" y="1208932"/>
                    </a:lnTo>
                    <a:lnTo>
                      <a:pt x="2194613" y="1194479"/>
                    </a:lnTo>
                    <a:lnTo>
                      <a:pt x="2194613" y="807458"/>
                    </a:lnTo>
                    <a:lnTo>
                      <a:pt x="2194613" y="725557"/>
                    </a:lnTo>
                    <a:lnTo>
                      <a:pt x="2194613" y="695045"/>
                    </a:lnTo>
                    <a:lnTo>
                      <a:pt x="2194613" y="373644"/>
                    </a:lnTo>
                    <a:lnTo>
                      <a:pt x="2194613" y="373644"/>
                    </a:lnTo>
                    <a:close/>
                  </a:path>
                </a:pathLst>
              </a:custGeom>
              <a:grpFill/>
              <a:ln w="1270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67274" eaLnBrk="1" fontAlgn="auto" latinLnBrk="0" hangingPunct="1">
                  <a:lnSpc>
                    <a:spcPct val="100000"/>
                  </a:lnSpc>
                  <a:spcBef>
                    <a:spcPts val="0"/>
                  </a:spcBef>
                  <a:spcAft>
                    <a:spcPts val="0"/>
                  </a:spcAft>
                  <a:buClrTx/>
                  <a:buSzTx/>
                  <a:buFontTx/>
                  <a:buNone/>
                  <a:tabLst/>
                  <a:defRPr/>
                </a:pPr>
                <a:endParaRPr kumimoji="0" lang="en-GB" sz="1904" b="0" i="0" u="none" strike="noStrike" kern="0" cap="none" spc="0" normalizeH="0" baseline="0" noProof="0">
                  <a:ln>
                    <a:noFill/>
                  </a:ln>
                  <a:solidFill>
                    <a:srgbClr val="4D4D4D"/>
                  </a:solidFill>
                  <a:effectLst/>
                  <a:uLnTx/>
                  <a:uFillTx/>
                </a:endParaRPr>
              </a:p>
            </p:txBody>
          </p:sp>
          <p:sp>
            <p:nvSpPr>
              <p:cNvPr id="45" name="TextBox 44">
                <a:extLst>
                  <a:ext uri="{FF2B5EF4-FFF2-40B4-BE49-F238E27FC236}">
                    <a16:creationId xmlns:a16="http://schemas.microsoft.com/office/drawing/2014/main" id="{8474E9BB-650E-3EF3-386B-AD7F4F81F818}"/>
                  </a:ext>
                </a:extLst>
              </p:cNvPr>
              <p:cNvSpPr txBox="1"/>
              <p:nvPr/>
            </p:nvSpPr>
            <p:spPr>
              <a:xfrm>
                <a:off x="993395" y="2020098"/>
                <a:ext cx="1670756" cy="215444"/>
              </a:xfrm>
              <a:prstGeom prst="rect">
                <a:avLst/>
              </a:prstGeom>
              <a:grpFill/>
            </p:spPr>
            <p:txBody>
              <a:bodyPr vert="horz" wrap="square" lIns="0" tIns="0" rIns="0" bIns="0" rtlCol="0" anchor="ctr" anchorCtr="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895350" eaLnBrk="1" fontAlgn="auto" latinLnBrk="0" hangingPunct="1">
                  <a:lnSpc>
                    <a:spcPct val="100000"/>
                  </a:lnSpc>
                  <a:spcBef>
                    <a:spcPts val="0"/>
                  </a:spcBef>
                  <a:spcAft>
                    <a:spcPts val="0"/>
                  </a:spcAft>
                  <a:buClr>
                    <a:srgbClr val="D1D1D1"/>
                  </a:buClr>
                  <a:buSzTx/>
                  <a:buFontTx/>
                  <a:buNone/>
                  <a:tabLst/>
                  <a:defRPr/>
                </a:pPr>
                <a:r>
                  <a:rPr kumimoji="0" lang="en-US" sz="1400" b="0" i="0" u="none" strike="noStrike" kern="0" cap="none" spc="0" normalizeH="0" baseline="0" noProof="0" dirty="0">
                    <a:ln>
                      <a:noFill/>
                    </a:ln>
                    <a:solidFill>
                      <a:srgbClr val="4D4D4D"/>
                    </a:solidFill>
                    <a:effectLst/>
                    <a:uLnTx/>
                    <a:uFillTx/>
                    <a:latin typeface="Arial"/>
                  </a:rPr>
                  <a:t>Phase 1</a:t>
                </a:r>
              </a:p>
            </p:txBody>
          </p:sp>
          <p:sp>
            <p:nvSpPr>
              <p:cNvPr id="46" name="TextBox 45">
                <a:extLst>
                  <a:ext uri="{FF2B5EF4-FFF2-40B4-BE49-F238E27FC236}">
                    <a16:creationId xmlns:a16="http://schemas.microsoft.com/office/drawing/2014/main" id="{A9DE53FA-5F62-C47C-6877-285DFDFEAC05}"/>
                  </a:ext>
                </a:extLst>
              </p:cNvPr>
              <p:cNvSpPr txBox="1"/>
              <p:nvPr/>
            </p:nvSpPr>
            <p:spPr>
              <a:xfrm>
                <a:off x="993395" y="3543376"/>
                <a:ext cx="1670756" cy="215444"/>
              </a:xfrm>
              <a:prstGeom prst="rect">
                <a:avLst/>
              </a:prstGeom>
              <a:grpFill/>
            </p:spPr>
            <p:txBody>
              <a:bodyPr vert="horz" wrap="square" lIns="0" tIns="0" rIns="0" bIns="0" rtlCol="0" anchor="ctr" anchorCtr="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895350" eaLnBrk="1" fontAlgn="auto" latinLnBrk="0" hangingPunct="1">
                  <a:lnSpc>
                    <a:spcPct val="100000"/>
                  </a:lnSpc>
                  <a:spcBef>
                    <a:spcPts val="0"/>
                  </a:spcBef>
                  <a:spcAft>
                    <a:spcPts val="0"/>
                  </a:spcAft>
                  <a:buClr>
                    <a:srgbClr val="D1D1D1"/>
                  </a:buClr>
                  <a:buSzTx/>
                  <a:buFontTx/>
                  <a:buNone/>
                  <a:tabLst/>
                  <a:defRPr/>
                </a:pPr>
                <a:r>
                  <a:rPr kumimoji="0" lang="en-US" sz="1400" b="0" i="0" u="none" strike="noStrike" kern="0" cap="none" spc="0" normalizeH="0" baseline="0" noProof="0" dirty="0">
                    <a:ln>
                      <a:noFill/>
                    </a:ln>
                    <a:solidFill>
                      <a:srgbClr val="4D4D4D"/>
                    </a:solidFill>
                    <a:effectLst/>
                    <a:uLnTx/>
                    <a:uFillTx/>
                    <a:latin typeface="Arial"/>
                  </a:rPr>
                  <a:t>Phase 2</a:t>
                </a:r>
              </a:p>
            </p:txBody>
          </p:sp>
          <p:sp>
            <p:nvSpPr>
              <p:cNvPr id="47" name="TextBox 46">
                <a:extLst>
                  <a:ext uri="{FF2B5EF4-FFF2-40B4-BE49-F238E27FC236}">
                    <a16:creationId xmlns:a16="http://schemas.microsoft.com/office/drawing/2014/main" id="{FFB25F7B-64E7-89BB-3DCA-8104A3D4F51D}"/>
                  </a:ext>
                </a:extLst>
              </p:cNvPr>
              <p:cNvSpPr txBox="1"/>
              <p:nvPr/>
            </p:nvSpPr>
            <p:spPr>
              <a:xfrm>
                <a:off x="993395" y="5081172"/>
                <a:ext cx="1670756" cy="215444"/>
              </a:xfrm>
              <a:prstGeom prst="rect">
                <a:avLst/>
              </a:prstGeom>
              <a:grpFill/>
            </p:spPr>
            <p:txBody>
              <a:bodyPr vert="horz" wrap="square" lIns="0" tIns="0" rIns="0" bIns="0" rtlCol="0" anchor="ctr" anchorCtr="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895350" eaLnBrk="1" fontAlgn="auto" latinLnBrk="0" hangingPunct="1">
                  <a:lnSpc>
                    <a:spcPct val="100000"/>
                  </a:lnSpc>
                  <a:spcBef>
                    <a:spcPts val="0"/>
                  </a:spcBef>
                  <a:spcAft>
                    <a:spcPts val="0"/>
                  </a:spcAft>
                  <a:buClr>
                    <a:srgbClr val="D1D1D1"/>
                  </a:buClr>
                  <a:buSzTx/>
                  <a:buFontTx/>
                  <a:buNone/>
                  <a:tabLst/>
                  <a:defRPr/>
                </a:pPr>
                <a:r>
                  <a:rPr kumimoji="0" lang="en-US" sz="1400" b="0" i="0" u="none" strike="noStrike" kern="0" cap="none" spc="0" normalizeH="0" baseline="0" noProof="0" dirty="0">
                    <a:ln>
                      <a:noFill/>
                    </a:ln>
                    <a:solidFill>
                      <a:srgbClr val="4D4D4D"/>
                    </a:solidFill>
                    <a:effectLst/>
                    <a:uLnTx/>
                    <a:uFillTx/>
                    <a:latin typeface="Arial"/>
                  </a:rPr>
                  <a:t>Phase 3</a:t>
                </a:r>
              </a:p>
            </p:txBody>
          </p:sp>
        </p:grpSp>
      </p:grpSp>
    </p:spTree>
    <p:extLst>
      <p:ext uri="{BB962C8B-B14F-4D97-AF65-F5344CB8AC3E}">
        <p14:creationId xmlns:p14="http://schemas.microsoft.com/office/powerpoint/2010/main" val="9986938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FtqM2jd3VyOy17YshemcUg"/>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FtqM2jd3VyOy17YshemcU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FtqM2jd3VyOy17YshemcU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FtqM2jd3VyOy17YshemcU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FtqM2jd3VyOy17YshemcU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etecon_Master">
  <a:themeElements>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blank.potx" id="{868F2C6C-5A19-4251-9E13-F7E89E0F5678}" vid="{70E580B7-6D21-4DD0-BBE7-E505DC0B4674}"/>
    </a:ext>
  </a:extLst>
</a:theme>
</file>

<file path=ppt/theme/theme3.xml><?xml version="1.0" encoding="utf-8"?>
<a:theme xmlns:a="http://schemas.openxmlformats.org/drawingml/2006/main" name="1_Detecon_Master">
  <a:themeElements>
    <a:clrScheme name="Detecon_new8">
      <a:dk1>
        <a:srgbClr val="4D4D4D"/>
      </a:dk1>
      <a:lt1>
        <a:srgbClr val="FFFFFF"/>
      </a:lt1>
      <a:dk2>
        <a:srgbClr val="D1D1D1"/>
      </a:dk2>
      <a:lt2>
        <a:srgbClr val="F0F0F0"/>
      </a:lt2>
      <a:accent1>
        <a:srgbClr val="A1A1A1"/>
      </a:accent1>
      <a:accent2>
        <a:srgbClr val="B7E4EF"/>
      </a:accent2>
      <a:accent3>
        <a:srgbClr val="2DA8C5"/>
      </a:accent3>
      <a:accent4>
        <a:srgbClr val="63C0F3"/>
      </a:accent4>
      <a:accent5>
        <a:srgbClr val="1063AD"/>
      </a:accent5>
      <a:accent6>
        <a:srgbClr val="122769"/>
      </a:accent6>
      <a:hlink>
        <a:srgbClr val="122769"/>
      </a:hlink>
      <a:folHlink>
        <a:srgbClr val="1063AD"/>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accent1"/>
          </a:solid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marL="182563" indent="-182563" algn="l">
          <a:buClr>
            <a:schemeClr val="tx1"/>
          </a:buClr>
          <a:buSzPct val="80000"/>
          <a:buFont typeface="Wingdings 2" panose="05020102010507070707" pitchFamily="18" charset="2"/>
          <a:buChar cha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80975" indent="-180975">
          <a:buClr>
            <a:schemeClr val="tx1"/>
          </a:buClr>
          <a:buSzPct val="80000"/>
          <a:buFont typeface="Wingdings 2" panose="05020102010507070707" pitchFamily="18" charset="2"/>
          <a:buChar char="¡"/>
          <a:defRPr sz="1400" dirty="0"/>
        </a:defPPr>
      </a:lstStyle>
    </a:txDef>
  </a:objectDefaults>
  <a:extraClrSchemeLst/>
  <a:custClrLst>
    <a:custClr name="Berry">
      <a:srgbClr val="9B3F5D"/>
    </a:custClr>
    <a:custClr name="Green">
      <a:srgbClr val="62BDA4"/>
    </a:custClr>
    <a:custClr name="Orange">
      <a:srgbClr val="FF8C00"/>
    </a:custClr>
    <a:custClr name="Blue">
      <a:srgbClr val="0A9FD5"/>
    </a:custClr>
    <a:custClr name="White">
      <a:srgbClr val="FFFFFF"/>
    </a:custClr>
    <a:custClr name="White">
      <a:srgbClr val="FFFFFF"/>
    </a:custClr>
    <a:custClr name="White">
      <a:srgbClr val="FFFFFF"/>
    </a:custClr>
    <a:custClr name="Ampel Green">
      <a:srgbClr val="339933"/>
    </a:custClr>
    <a:custClr name="Ampel Red">
      <a:srgbClr val="CC0000"/>
    </a:custClr>
    <a:custClr name="Ampel Yellow">
      <a:srgbClr val="FFD22D"/>
    </a:custClr>
  </a:custClrLst>
  <a:extLst>
    <a:ext uri="{05A4C25C-085E-4340-85A3-A5531E510DB2}">
      <thm15:themeFamily xmlns:thm15="http://schemas.microsoft.com/office/thememl/2012/main" name="Sample_Slide_Deck.potx" id="{F553FC7A-F2C8-436C-8EA9-482F69C78E00}" vid="{C73B37EE-182E-48CC-9A2A-04E57D841D7D}"/>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825</Words>
  <Application>Microsoft Office PowerPoint</Application>
  <PresentationFormat>Widescreen</PresentationFormat>
  <Paragraphs>304</Paragraphs>
  <Slides>16</Slides>
  <Notes>11</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2</vt:i4>
      </vt:variant>
      <vt:variant>
        <vt:lpstr>Slide Titles</vt:lpstr>
      </vt:variant>
      <vt:variant>
        <vt:i4>16</vt:i4>
      </vt:variant>
    </vt:vector>
  </HeadingPairs>
  <TitlesOfParts>
    <vt:vector size="29" baseType="lpstr">
      <vt:lpstr>Arial</vt:lpstr>
      <vt:lpstr>AvenirLTStd-Light</vt:lpstr>
      <vt:lpstr>Calibri</vt:lpstr>
      <vt:lpstr>Calibri Light</vt:lpstr>
      <vt:lpstr>NokiaPureHeadline</vt:lpstr>
      <vt:lpstr>TeleGrotesk Headline Ultra</vt:lpstr>
      <vt:lpstr>Wingdings</vt:lpstr>
      <vt:lpstr>Wingdings 2</vt:lpstr>
      <vt:lpstr>Office Theme</vt:lpstr>
      <vt:lpstr>Detecon_Master</vt:lpstr>
      <vt:lpstr>1_Detecon_Master</vt:lpstr>
      <vt:lpstr>think-cell Folie</vt:lpstr>
      <vt:lpstr>think-cell Slide</vt:lpstr>
      <vt:lpstr>PowerPoint Presentation</vt:lpstr>
      <vt:lpstr>Agenda</vt:lpstr>
      <vt:lpstr>Omantel is the largest mobile operator in Oman</vt:lpstr>
      <vt:lpstr>PowerPoint Presentation</vt:lpstr>
      <vt:lpstr>PowerPoint Presentation</vt:lpstr>
      <vt:lpstr>PowerPoint Presentation</vt:lpstr>
      <vt:lpstr>Benefits vs. Challenges</vt:lpstr>
      <vt:lpstr>PowerPoint Presentation</vt:lpstr>
      <vt:lpstr>Project plan</vt:lpstr>
      <vt:lpstr>Deliverable </vt:lpstr>
      <vt:lpstr>Recommendation</vt:lpstr>
      <vt:lpstr>PowerPoint Presentation</vt:lpstr>
      <vt:lpstr>PowerPoint Presentation</vt:lpstr>
      <vt:lpstr>PowerPoint Presentation</vt:lpstr>
      <vt:lpstr>Benefits vs. Challenges</vt:lpstr>
      <vt:lpstr>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SHIQ PATHAN</dc:creator>
  <cp:lastModifiedBy>Nur Mohammad</cp:lastModifiedBy>
  <cp:revision>161</cp:revision>
  <dcterms:created xsi:type="dcterms:W3CDTF">2022-09-11T20:35:53Z</dcterms:created>
  <dcterms:modified xsi:type="dcterms:W3CDTF">2022-09-25T19:56:27Z</dcterms:modified>
</cp:coreProperties>
</file>